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6" r:id="rId3"/>
    <p:sldId id="272" r:id="rId4"/>
    <p:sldId id="258" r:id="rId5"/>
    <p:sldId id="273" r:id="rId6"/>
    <p:sldId id="274" r:id="rId7"/>
    <p:sldId id="275" r:id="rId8"/>
    <p:sldId id="276" r:id="rId9"/>
    <p:sldId id="277" r:id="rId10"/>
    <p:sldId id="261" r:id="rId11"/>
  </p:sldIdLst>
  <p:sldSz cx="12192000" cy="6858000"/>
  <p:notesSz cx="6858000" cy="9144000"/>
  <p:custDataLst>
    <p:tags r:id="rId1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45DD"/>
    <a:srgbClr val="EB7B55"/>
    <a:srgbClr val="323C66"/>
    <a:srgbClr val="5669B6"/>
    <a:srgbClr val="F7D9C9"/>
    <a:srgbClr val="FBEDE5"/>
    <a:srgbClr val="082558"/>
    <a:srgbClr val="0C205A"/>
    <a:srgbClr val="31E1FE"/>
    <a:srgbClr val="A2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3" autoAdjust="0"/>
    <p:restoredTop sz="96182" autoAdjust="0"/>
  </p:normalViewPr>
  <p:slideViewPr>
    <p:cSldViewPr snapToGrid="0">
      <p:cViewPr varScale="1">
        <p:scale>
          <a:sx n="115" d="100"/>
          <a:sy n="115" d="100"/>
        </p:scale>
        <p:origin x="512" y="18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7" Type="http://schemas.openxmlformats.org/officeDocument/2006/relationships/tags" Target="tags/tag5.xml"/><Relationship Id="rId16" Type="http://schemas.openxmlformats.org/officeDocument/2006/relationships/tableStyles" Target="tableStyles.xml"/><Relationship Id="rId15" Type="http://schemas.openxmlformats.org/officeDocument/2006/relationships/viewProps" Target="viewProps.xml"/><Relationship Id="rId14" Type="http://schemas.openxmlformats.org/officeDocument/2006/relationships/presProps" Target="presProps.xml"/><Relationship Id="rId13" Type="http://schemas.openxmlformats.org/officeDocument/2006/relationships/handoutMaster" Target="handoutMasters/handoutMaster1.xml"/><Relationship Id="rId12" Type="http://schemas.openxmlformats.org/officeDocument/2006/relationships/notesMaster" Target="notesMasters/notesMaster1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bg>
      <p:bgPr>
        <a:solidFill>
          <a:schemeClr val="accent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ṣlîḓe"/>
          <p:cNvSpPr/>
          <p:nvPr userDrawn="1"/>
        </p:nvSpPr>
        <p:spPr>
          <a:xfrm>
            <a:off x="0" y="3976519"/>
            <a:ext cx="12192000" cy="28814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8" name="íSḷídé"/>
          <p:cNvSpPr/>
          <p:nvPr userDrawn="1"/>
        </p:nvSpPr>
        <p:spPr>
          <a:xfrm>
            <a:off x="-1" y="5344554"/>
            <a:ext cx="8858251" cy="754589"/>
          </a:xfrm>
          <a:prstGeom prst="homePlate">
            <a:avLst/>
          </a:prstGeom>
          <a:solidFill>
            <a:schemeClr val="accent1">
              <a:lumMod val="10000"/>
              <a:lumOff val="9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5616289" y="3310645"/>
            <a:ext cx="5964238" cy="343580"/>
          </a:xfrm>
        </p:spPr>
        <p:txBody>
          <a:bodyPr anchor="t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5647625" y="1227945"/>
            <a:ext cx="5932902" cy="2023851"/>
          </a:xfrm>
        </p:spPr>
        <p:txBody>
          <a:bodyPr anchor="b">
            <a:normAutofit/>
          </a:bodyPr>
          <a:lstStyle>
            <a:lvl1pPr algn="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647625" y="5328566"/>
            <a:ext cx="5932902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647625" y="5631187"/>
            <a:ext cx="59329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39" name="iṩ1ídé"/>
          <p:cNvSpPr/>
          <p:nvPr userDrawn="1"/>
        </p:nvSpPr>
        <p:spPr>
          <a:xfrm>
            <a:off x="0" y="5344554"/>
            <a:ext cx="6964860" cy="754589"/>
          </a:xfrm>
          <a:prstGeom prst="homePlate">
            <a:avLst/>
          </a:prstGeom>
          <a:solidFill>
            <a:schemeClr val="accent1">
              <a:lumMod val="10000"/>
              <a:lumOff val="9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" name="组合 5"/>
          <p:cNvGrpSpPr/>
          <p:nvPr userDrawn="1"/>
        </p:nvGrpSpPr>
        <p:grpSpPr>
          <a:xfrm>
            <a:off x="669314" y="1456939"/>
            <a:ext cx="5201338" cy="4549373"/>
            <a:chOff x="3789177" y="-2078366"/>
            <a:chExt cx="5201338" cy="4549373"/>
          </a:xfrm>
        </p:grpSpPr>
        <p:grpSp>
          <p:nvGrpSpPr>
            <p:cNvPr id="8" name="图形 7"/>
            <p:cNvGrpSpPr/>
            <p:nvPr/>
          </p:nvGrpSpPr>
          <p:grpSpPr>
            <a:xfrm>
              <a:off x="3789177" y="-1077448"/>
              <a:ext cx="1088789" cy="2152587"/>
              <a:chOff x="3789177" y="-1077448"/>
              <a:chExt cx="1088789" cy="2152587"/>
            </a:xfrm>
            <a:solidFill>
              <a:srgbClr val="009EE3"/>
            </a:solidFill>
          </p:grpSpPr>
          <p:sp>
            <p:nvSpPr>
              <p:cNvPr id="132" name="íşļïdè"/>
              <p:cNvSpPr/>
              <p:nvPr/>
            </p:nvSpPr>
            <p:spPr>
              <a:xfrm>
                <a:off x="3892325" y="-838175"/>
                <a:ext cx="985642" cy="1913314"/>
              </a:xfrm>
              <a:custGeom>
                <a:avLst/>
                <a:gdLst>
                  <a:gd name="connsiteX0" fmla="*/ 976101 w 985642"/>
                  <a:gd name="connsiteY0" fmla="*/ 1913314 h 1913314"/>
                  <a:gd name="connsiteX1" fmla="*/ 981469 w 985642"/>
                  <a:gd name="connsiteY1" fmla="*/ 1632857 h 1913314"/>
                  <a:gd name="connsiteX2" fmla="*/ 941796 w 985642"/>
                  <a:gd name="connsiteY2" fmla="*/ 1353971 h 1913314"/>
                  <a:gd name="connsiteX3" fmla="*/ 752337 w 985642"/>
                  <a:gd name="connsiteY3" fmla="*/ 822517 h 1913314"/>
                  <a:gd name="connsiteX4" fmla="*/ 683729 w 985642"/>
                  <a:gd name="connsiteY4" fmla="*/ 698655 h 1913314"/>
                  <a:gd name="connsiteX5" fmla="*/ 645889 w 985642"/>
                  <a:gd name="connsiteY5" fmla="*/ 638819 h 1913314"/>
                  <a:gd name="connsiteX6" fmla="*/ 626773 w 985642"/>
                  <a:gd name="connsiteY6" fmla="*/ 609097 h 1913314"/>
                  <a:gd name="connsiteX7" fmla="*/ 606479 w 985642"/>
                  <a:gd name="connsiteY7" fmla="*/ 580161 h 1913314"/>
                  <a:gd name="connsiteX8" fmla="*/ 429982 w 985642"/>
                  <a:gd name="connsiteY8" fmla="*/ 359671 h 1913314"/>
                  <a:gd name="connsiteX9" fmla="*/ 0 w 985642"/>
                  <a:gd name="connsiteY9" fmla="*/ 0 h 1913314"/>
                  <a:gd name="connsiteX10" fmla="*/ 388476 w 985642"/>
                  <a:gd name="connsiteY10" fmla="*/ 395678 h 1913314"/>
                  <a:gd name="connsiteX11" fmla="*/ 551225 w 985642"/>
                  <a:gd name="connsiteY11" fmla="*/ 617739 h 1913314"/>
                  <a:gd name="connsiteX12" fmla="*/ 570341 w 985642"/>
                  <a:gd name="connsiteY12" fmla="*/ 646282 h 1913314"/>
                  <a:gd name="connsiteX13" fmla="*/ 588410 w 985642"/>
                  <a:gd name="connsiteY13" fmla="*/ 675480 h 1913314"/>
                  <a:gd name="connsiteX14" fmla="*/ 624155 w 985642"/>
                  <a:gd name="connsiteY14" fmla="*/ 734138 h 1913314"/>
                  <a:gd name="connsiteX15" fmla="*/ 657935 w 985642"/>
                  <a:gd name="connsiteY15" fmla="*/ 793974 h 1913314"/>
                  <a:gd name="connsiteX16" fmla="*/ 666446 w 985642"/>
                  <a:gd name="connsiteY16" fmla="*/ 808900 h 1913314"/>
                  <a:gd name="connsiteX17" fmla="*/ 674302 w 985642"/>
                  <a:gd name="connsiteY17" fmla="*/ 824219 h 1913314"/>
                  <a:gd name="connsiteX18" fmla="*/ 690013 w 985642"/>
                  <a:gd name="connsiteY18" fmla="*/ 854726 h 1913314"/>
                  <a:gd name="connsiteX19" fmla="*/ 888769 w 985642"/>
                  <a:gd name="connsiteY19" fmla="*/ 1366803 h 1913314"/>
                  <a:gd name="connsiteX20" fmla="*/ 906052 w 985642"/>
                  <a:gd name="connsiteY20" fmla="*/ 1433578 h 1913314"/>
                  <a:gd name="connsiteX21" fmla="*/ 921633 w 985642"/>
                  <a:gd name="connsiteY21" fmla="*/ 1500877 h 1913314"/>
                  <a:gd name="connsiteX22" fmla="*/ 947688 w 985642"/>
                  <a:gd name="connsiteY22" fmla="*/ 1636785 h 1913314"/>
                  <a:gd name="connsiteX23" fmla="*/ 976101 w 985642"/>
                  <a:gd name="connsiteY23" fmla="*/ 1913314 h 1913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985642" h="1913314">
                    <a:moveTo>
                      <a:pt x="976101" y="1913314"/>
                    </a:moveTo>
                    <a:cubicBezTo>
                      <a:pt x="988539" y="1820614"/>
                      <a:pt x="987099" y="1726474"/>
                      <a:pt x="981469" y="1632857"/>
                    </a:cubicBezTo>
                    <a:cubicBezTo>
                      <a:pt x="974660" y="1539241"/>
                      <a:pt x="961567" y="1446017"/>
                      <a:pt x="941796" y="1353971"/>
                    </a:cubicBezTo>
                    <a:cubicBezTo>
                      <a:pt x="902909" y="1169750"/>
                      <a:pt x="839145" y="990241"/>
                      <a:pt x="752337" y="822517"/>
                    </a:cubicBezTo>
                    <a:cubicBezTo>
                      <a:pt x="731126" y="780357"/>
                      <a:pt x="707166" y="739637"/>
                      <a:pt x="683729" y="698655"/>
                    </a:cubicBezTo>
                    <a:cubicBezTo>
                      <a:pt x="671421" y="678491"/>
                      <a:pt x="658459" y="658721"/>
                      <a:pt x="645889" y="638819"/>
                    </a:cubicBezTo>
                    <a:cubicBezTo>
                      <a:pt x="639474" y="628868"/>
                      <a:pt x="633320" y="618786"/>
                      <a:pt x="626773" y="609097"/>
                    </a:cubicBezTo>
                    <a:lnTo>
                      <a:pt x="606479" y="580161"/>
                    </a:lnTo>
                    <a:cubicBezTo>
                      <a:pt x="553189" y="502257"/>
                      <a:pt x="493222" y="429327"/>
                      <a:pt x="429982" y="359671"/>
                    </a:cubicBezTo>
                    <a:cubicBezTo>
                      <a:pt x="302454" y="221276"/>
                      <a:pt x="157904" y="99247"/>
                      <a:pt x="0" y="0"/>
                    </a:cubicBezTo>
                    <a:cubicBezTo>
                      <a:pt x="140490" y="122815"/>
                      <a:pt x="271423" y="253747"/>
                      <a:pt x="388476" y="395678"/>
                    </a:cubicBezTo>
                    <a:cubicBezTo>
                      <a:pt x="445563" y="467690"/>
                      <a:pt x="501733" y="540489"/>
                      <a:pt x="551225" y="617739"/>
                    </a:cubicBezTo>
                    <a:lnTo>
                      <a:pt x="570341" y="646282"/>
                    </a:lnTo>
                    <a:cubicBezTo>
                      <a:pt x="576626" y="655840"/>
                      <a:pt x="582387" y="665791"/>
                      <a:pt x="588410" y="675480"/>
                    </a:cubicBezTo>
                    <a:cubicBezTo>
                      <a:pt x="600325" y="695120"/>
                      <a:pt x="612502" y="714498"/>
                      <a:pt x="624155" y="734138"/>
                    </a:cubicBezTo>
                    <a:lnTo>
                      <a:pt x="657935" y="793974"/>
                    </a:lnTo>
                    <a:lnTo>
                      <a:pt x="666446" y="808900"/>
                    </a:lnTo>
                    <a:lnTo>
                      <a:pt x="674302" y="824219"/>
                    </a:lnTo>
                    <a:lnTo>
                      <a:pt x="690013" y="854726"/>
                    </a:lnTo>
                    <a:cubicBezTo>
                      <a:pt x="774465" y="1017344"/>
                      <a:pt x="840062" y="1189520"/>
                      <a:pt x="888769" y="1366803"/>
                    </a:cubicBezTo>
                    <a:cubicBezTo>
                      <a:pt x="895184" y="1388930"/>
                      <a:pt x="900553" y="1411189"/>
                      <a:pt x="906052" y="1433578"/>
                    </a:cubicBezTo>
                    <a:cubicBezTo>
                      <a:pt x="911813" y="1455837"/>
                      <a:pt x="916395" y="1478357"/>
                      <a:pt x="921633" y="1500877"/>
                    </a:cubicBezTo>
                    <a:cubicBezTo>
                      <a:pt x="931846" y="1545787"/>
                      <a:pt x="940094" y="1591221"/>
                      <a:pt x="947688" y="1636785"/>
                    </a:cubicBezTo>
                    <a:cubicBezTo>
                      <a:pt x="962222" y="1728045"/>
                      <a:pt x="972958" y="1820090"/>
                      <a:pt x="976101" y="1913314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íṩḷiḍê"/>
              <p:cNvSpPr/>
              <p:nvPr/>
            </p:nvSpPr>
            <p:spPr>
              <a:xfrm>
                <a:off x="4418150" y="-974345"/>
                <a:ext cx="94279" cy="683990"/>
              </a:xfrm>
              <a:custGeom>
                <a:avLst/>
                <a:gdLst>
                  <a:gd name="connsiteX0" fmla="*/ 9820 w 94279"/>
                  <a:gd name="connsiteY0" fmla="*/ 683991 h 683990"/>
                  <a:gd name="connsiteX1" fmla="*/ 71358 w 94279"/>
                  <a:gd name="connsiteY1" fmla="*/ 517445 h 683990"/>
                  <a:gd name="connsiteX2" fmla="*/ 94140 w 94279"/>
                  <a:gd name="connsiteY2" fmla="*/ 340162 h 683990"/>
                  <a:gd name="connsiteX3" fmla="*/ 93617 w 94279"/>
                  <a:gd name="connsiteY3" fmla="*/ 295252 h 683990"/>
                  <a:gd name="connsiteX4" fmla="*/ 89951 w 94279"/>
                  <a:gd name="connsiteY4" fmla="*/ 250474 h 683990"/>
                  <a:gd name="connsiteX5" fmla="*/ 73584 w 94279"/>
                  <a:gd name="connsiteY5" fmla="*/ 162094 h 683990"/>
                  <a:gd name="connsiteX6" fmla="*/ 0 w 94279"/>
                  <a:gd name="connsiteY6" fmla="*/ 0 h 683990"/>
                  <a:gd name="connsiteX7" fmla="*/ 45695 w 94279"/>
                  <a:gd name="connsiteY7" fmla="*/ 167986 h 683990"/>
                  <a:gd name="connsiteX8" fmla="*/ 48838 w 94279"/>
                  <a:gd name="connsiteY8" fmla="*/ 189328 h 683990"/>
                  <a:gd name="connsiteX9" fmla="*/ 51718 w 94279"/>
                  <a:gd name="connsiteY9" fmla="*/ 210670 h 683990"/>
                  <a:gd name="connsiteX10" fmla="*/ 55384 w 94279"/>
                  <a:gd name="connsiteY10" fmla="*/ 253616 h 683990"/>
                  <a:gd name="connsiteX11" fmla="*/ 57610 w 94279"/>
                  <a:gd name="connsiteY11" fmla="*/ 339769 h 683990"/>
                  <a:gd name="connsiteX12" fmla="*/ 43470 w 94279"/>
                  <a:gd name="connsiteY12" fmla="*/ 512207 h 683990"/>
                  <a:gd name="connsiteX13" fmla="*/ 9820 w 94279"/>
                  <a:gd name="connsiteY13" fmla="*/ 683991 h 683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4279" h="683990">
                    <a:moveTo>
                      <a:pt x="9820" y="683991"/>
                    </a:moveTo>
                    <a:cubicBezTo>
                      <a:pt x="38101" y="631880"/>
                      <a:pt x="57348" y="575186"/>
                      <a:pt x="71358" y="517445"/>
                    </a:cubicBezTo>
                    <a:cubicBezTo>
                      <a:pt x="85237" y="459573"/>
                      <a:pt x="93486" y="400129"/>
                      <a:pt x="94140" y="340162"/>
                    </a:cubicBezTo>
                    <a:cubicBezTo>
                      <a:pt x="94533" y="325236"/>
                      <a:pt x="94009" y="310179"/>
                      <a:pt x="93617" y="295252"/>
                    </a:cubicBezTo>
                    <a:cubicBezTo>
                      <a:pt x="92569" y="280326"/>
                      <a:pt x="91914" y="265269"/>
                      <a:pt x="89951" y="250474"/>
                    </a:cubicBezTo>
                    <a:cubicBezTo>
                      <a:pt x="86415" y="220752"/>
                      <a:pt x="81571" y="191030"/>
                      <a:pt x="73584" y="162094"/>
                    </a:cubicBezTo>
                    <a:cubicBezTo>
                      <a:pt x="58789" y="104091"/>
                      <a:pt x="34173" y="48445"/>
                      <a:pt x="0" y="0"/>
                    </a:cubicBezTo>
                    <a:cubicBezTo>
                      <a:pt x="20556" y="55515"/>
                      <a:pt x="36530" y="111162"/>
                      <a:pt x="45695" y="167986"/>
                    </a:cubicBezTo>
                    <a:cubicBezTo>
                      <a:pt x="46874" y="175057"/>
                      <a:pt x="48052" y="182127"/>
                      <a:pt x="48838" y="189328"/>
                    </a:cubicBezTo>
                    <a:lnTo>
                      <a:pt x="51718" y="210670"/>
                    </a:lnTo>
                    <a:cubicBezTo>
                      <a:pt x="53158" y="224942"/>
                      <a:pt x="54861" y="239213"/>
                      <a:pt x="55384" y="253616"/>
                    </a:cubicBezTo>
                    <a:cubicBezTo>
                      <a:pt x="57348" y="282290"/>
                      <a:pt x="58134" y="310964"/>
                      <a:pt x="57610" y="339769"/>
                    </a:cubicBezTo>
                    <a:cubicBezTo>
                      <a:pt x="56825" y="397249"/>
                      <a:pt x="51718" y="454859"/>
                      <a:pt x="43470" y="512207"/>
                    </a:cubicBezTo>
                    <a:cubicBezTo>
                      <a:pt x="34828" y="569294"/>
                      <a:pt x="23830" y="626511"/>
                      <a:pt x="9820" y="683991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íṡľiďe"/>
              <p:cNvSpPr/>
              <p:nvPr/>
            </p:nvSpPr>
            <p:spPr>
              <a:xfrm>
                <a:off x="3924404" y="-421941"/>
                <a:ext cx="627165" cy="281685"/>
              </a:xfrm>
              <a:custGeom>
                <a:avLst/>
                <a:gdLst>
                  <a:gd name="connsiteX0" fmla="*/ 0 w 627165"/>
                  <a:gd name="connsiteY0" fmla="*/ 0 h 281685"/>
                  <a:gd name="connsiteX1" fmla="*/ 126350 w 627165"/>
                  <a:gd name="connsiteY1" fmla="*/ 124779 h 281685"/>
                  <a:gd name="connsiteX2" fmla="*/ 278362 w 627165"/>
                  <a:gd name="connsiteY2" fmla="*/ 218788 h 281685"/>
                  <a:gd name="connsiteX3" fmla="*/ 319475 w 627165"/>
                  <a:gd name="connsiteY3" fmla="*/ 236857 h 281685"/>
                  <a:gd name="connsiteX4" fmla="*/ 361897 w 627165"/>
                  <a:gd name="connsiteY4" fmla="*/ 252045 h 281685"/>
                  <a:gd name="connsiteX5" fmla="*/ 449229 w 627165"/>
                  <a:gd name="connsiteY5" fmla="*/ 273649 h 281685"/>
                  <a:gd name="connsiteX6" fmla="*/ 627166 w 627165"/>
                  <a:gd name="connsiteY6" fmla="*/ 273518 h 281685"/>
                  <a:gd name="connsiteX7" fmla="*/ 455252 w 627165"/>
                  <a:gd name="connsiteY7" fmla="*/ 245760 h 281685"/>
                  <a:gd name="connsiteX8" fmla="*/ 434564 w 627165"/>
                  <a:gd name="connsiteY8" fmla="*/ 239868 h 281685"/>
                  <a:gd name="connsiteX9" fmla="*/ 413877 w 627165"/>
                  <a:gd name="connsiteY9" fmla="*/ 233714 h 281685"/>
                  <a:gd name="connsiteX10" fmla="*/ 373288 w 627165"/>
                  <a:gd name="connsiteY10" fmla="*/ 219443 h 281685"/>
                  <a:gd name="connsiteX11" fmla="*/ 293943 w 627165"/>
                  <a:gd name="connsiteY11" fmla="*/ 185924 h 281685"/>
                  <a:gd name="connsiteX12" fmla="*/ 142716 w 627165"/>
                  <a:gd name="connsiteY12" fmla="*/ 101865 h 281685"/>
                  <a:gd name="connsiteX13" fmla="*/ 0 w 627165"/>
                  <a:gd name="connsiteY13" fmla="*/ 0 h 281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7165" h="281685">
                    <a:moveTo>
                      <a:pt x="0" y="0"/>
                    </a:moveTo>
                    <a:cubicBezTo>
                      <a:pt x="35875" y="47267"/>
                      <a:pt x="79476" y="88117"/>
                      <a:pt x="126350" y="124779"/>
                    </a:cubicBezTo>
                    <a:cubicBezTo>
                      <a:pt x="173354" y="161309"/>
                      <a:pt x="224156" y="193387"/>
                      <a:pt x="278362" y="218788"/>
                    </a:cubicBezTo>
                    <a:cubicBezTo>
                      <a:pt x="291848" y="225204"/>
                      <a:pt x="305727" y="230965"/>
                      <a:pt x="319475" y="236857"/>
                    </a:cubicBezTo>
                    <a:cubicBezTo>
                      <a:pt x="333616" y="242094"/>
                      <a:pt x="347494" y="247724"/>
                      <a:pt x="361897" y="252045"/>
                    </a:cubicBezTo>
                    <a:cubicBezTo>
                      <a:pt x="390440" y="261079"/>
                      <a:pt x="419507" y="268935"/>
                      <a:pt x="449229" y="273649"/>
                    </a:cubicBezTo>
                    <a:cubicBezTo>
                      <a:pt x="508148" y="284123"/>
                      <a:pt x="569032" y="284647"/>
                      <a:pt x="627166" y="273518"/>
                    </a:cubicBezTo>
                    <a:cubicBezTo>
                      <a:pt x="568115" y="269328"/>
                      <a:pt x="510898" y="260948"/>
                      <a:pt x="455252" y="245760"/>
                    </a:cubicBezTo>
                    <a:cubicBezTo>
                      <a:pt x="448312" y="243927"/>
                      <a:pt x="441373" y="242094"/>
                      <a:pt x="434564" y="239868"/>
                    </a:cubicBezTo>
                    <a:lnTo>
                      <a:pt x="413877" y="233714"/>
                    </a:lnTo>
                    <a:cubicBezTo>
                      <a:pt x="400260" y="229132"/>
                      <a:pt x="386643" y="224680"/>
                      <a:pt x="373288" y="219443"/>
                    </a:cubicBezTo>
                    <a:cubicBezTo>
                      <a:pt x="346447" y="209492"/>
                      <a:pt x="319868" y="198362"/>
                      <a:pt x="293943" y="185924"/>
                    </a:cubicBezTo>
                    <a:cubicBezTo>
                      <a:pt x="241963" y="161440"/>
                      <a:pt x="191554" y="133027"/>
                      <a:pt x="142716" y="101865"/>
                    </a:cubicBezTo>
                    <a:cubicBezTo>
                      <a:pt x="94009" y="70049"/>
                      <a:pt x="46481" y="36399"/>
                      <a:pt x="0" y="0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í$1ïďé"/>
              <p:cNvSpPr/>
              <p:nvPr/>
            </p:nvSpPr>
            <p:spPr>
              <a:xfrm>
                <a:off x="4315133" y="-1077448"/>
                <a:ext cx="205902" cy="205858"/>
              </a:xfrm>
              <a:custGeom>
                <a:avLst/>
                <a:gdLst>
                  <a:gd name="connsiteX0" fmla="*/ 3377 w 205902"/>
                  <a:gd name="connsiteY0" fmla="*/ 76917 h 205858"/>
                  <a:gd name="connsiteX1" fmla="*/ 76961 w 205902"/>
                  <a:gd name="connsiteY1" fmla="*/ 202481 h 205858"/>
                  <a:gd name="connsiteX2" fmla="*/ 202525 w 205902"/>
                  <a:gd name="connsiteY2" fmla="*/ 128897 h 205858"/>
                  <a:gd name="connsiteX3" fmla="*/ 128941 w 205902"/>
                  <a:gd name="connsiteY3" fmla="*/ 3333 h 205858"/>
                  <a:gd name="connsiteX4" fmla="*/ 3377 w 205902"/>
                  <a:gd name="connsiteY4" fmla="*/ 76917 h 205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902" h="205858">
                    <a:moveTo>
                      <a:pt x="3377" y="76917"/>
                    </a:moveTo>
                    <a:cubicBezTo>
                      <a:pt x="-11025" y="131909"/>
                      <a:pt x="21970" y="188210"/>
                      <a:pt x="76961" y="202481"/>
                    </a:cubicBezTo>
                    <a:cubicBezTo>
                      <a:pt x="131953" y="216884"/>
                      <a:pt x="188254" y="183889"/>
                      <a:pt x="202525" y="128897"/>
                    </a:cubicBezTo>
                    <a:cubicBezTo>
                      <a:pt x="216928" y="73906"/>
                      <a:pt x="183933" y="17605"/>
                      <a:pt x="128941" y="3333"/>
                    </a:cubicBezTo>
                    <a:cubicBezTo>
                      <a:pt x="73950" y="-10938"/>
                      <a:pt x="17780" y="21926"/>
                      <a:pt x="3377" y="76917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îśḻíḑê"/>
              <p:cNvSpPr/>
              <p:nvPr/>
            </p:nvSpPr>
            <p:spPr>
              <a:xfrm>
                <a:off x="3866297" y="-522732"/>
                <a:ext cx="205902" cy="205902"/>
              </a:xfrm>
              <a:custGeom>
                <a:avLst/>
                <a:gdLst>
                  <a:gd name="connsiteX0" fmla="*/ 3377 w 205902"/>
                  <a:gd name="connsiteY0" fmla="*/ 76961 h 205902"/>
                  <a:gd name="connsiteX1" fmla="*/ 76961 w 205902"/>
                  <a:gd name="connsiteY1" fmla="*/ 202526 h 205902"/>
                  <a:gd name="connsiteX2" fmla="*/ 202525 w 205902"/>
                  <a:gd name="connsiteY2" fmla="*/ 128941 h 205902"/>
                  <a:gd name="connsiteX3" fmla="*/ 128941 w 205902"/>
                  <a:gd name="connsiteY3" fmla="*/ 3377 h 205902"/>
                  <a:gd name="connsiteX4" fmla="*/ 3377 w 205902"/>
                  <a:gd name="connsiteY4" fmla="*/ 76961 h 205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902" h="205902">
                    <a:moveTo>
                      <a:pt x="3377" y="76961"/>
                    </a:moveTo>
                    <a:cubicBezTo>
                      <a:pt x="-11025" y="131953"/>
                      <a:pt x="21970" y="188123"/>
                      <a:pt x="76961" y="202526"/>
                    </a:cubicBezTo>
                    <a:cubicBezTo>
                      <a:pt x="131953" y="216928"/>
                      <a:pt x="188254" y="183933"/>
                      <a:pt x="202525" y="128941"/>
                    </a:cubicBezTo>
                    <a:cubicBezTo>
                      <a:pt x="216928" y="73950"/>
                      <a:pt x="183933" y="17649"/>
                      <a:pt x="128941" y="3377"/>
                    </a:cubicBezTo>
                    <a:cubicBezTo>
                      <a:pt x="74081" y="-11025"/>
                      <a:pt x="17780" y="21970"/>
                      <a:pt x="3377" y="76961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7" name="işḻîdè"/>
              <p:cNvSpPr/>
              <p:nvPr/>
            </p:nvSpPr>
            <p:spPr>
              <a:xfrm>
                <a:off x="3789177" y="-941148"/>
                <a:ext cx="205902" cy="205858"/>
              </a:xfrm>
              <a:custGeom>
                <a:avLst/>
                <a:gdLst>
                  <a:gd name="connsiteX0" fmla="*/ 3377 w 205902"/>
                  <a:gd name="connsiteY0" fmla="*/ 76917 h 205858"/>
                  <a:gd name="connsiteX1" fmla="*/ 76961 w 205902"/>
                  <a:gd name="connsiteY1" fmla="*/ 202481 h 205858"/>
                  <a:gd name="connsiteX2" fmla="*/ 202525 w 205902"/>
                  <a:gd name="connsiteY2" fmla="*/ 128897 h 205858"/>
                  <a:gd name="connsiteX3" fmla="*/ 128941 w 205902"/>
                  <a:gd name="connsiteY3" fmla="*/ 3333 h 205858"/>
                  <a:gd name="connsiteX4" fmla="*/ 3377 w 205902"/>
                  <a:gd name="connsiteY4" fmla="*/ 76917 h 205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902" h="205858">
                    <a:moveTo>
                      <a:pt x="3377" y="76917"/>
                    </a:moveTo>
                    <a:cubicBezTo>
                      <a:pt x="-11025" y="131909"/>
                      <a:pt x="21970" y="188210"/>
                      <a:pt x="76961" y="202481"/>
                    </a:cubicBezTo>
                    <a:cubicBezTo>
                      <a:pt x="131953" y="216884"/>
                      <a:pt x="188254" y="183889"/>
                      <a:pt x="202525" y="128897"/>
                    </a:cubicBezTo>
                    <a:cubicBezTo>
                      <a:pt x="216928" y="73906"/>
                      <a:pt x="183933" y="17605"/>
                      <a:pt x="128941" y="3333"/>
                    </a:cubicBezTo>
                    <a:cubicBezTo>
                      <a:pt x="73950" y="-10938"/>
                      <a:pt x="17780" y="21926"/>
                      <a:pt x="3377" y="76917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图形 7"/>
            <p:cNvGrpSpPr/>
            <p:nvPr/>
          </p:nvGrpSpPr>
          <p:grpSpPr>
            <a:xfrm>
              <a:off x="4689441" y="-1993915"/>
              <a:ext cx="2529743" cy="4395005"/>
              <a:chOff x="4689441" y="-1993915"/>
              <a:chExt cx="2529743" cy="4395005"/>
            </a:xfrm>
            <a:solidFill>
              <a:schemeClr val="accent1"/>
            </a:solidFill>
          </p:grpSpPr>
          <p:sp>
            <p:nvSpPr>
              <p:cNvPr id="117" name="iṧļïḋè"/>
              <p:cNvSpPr/>
              <p:nvPr/>
            </p:nvSpPr>
            <p:spPr>
              <a:xfrm>
                <a:off x="4754908" y="-1337944"/>
                <a:ext cx="2464277" cy="3739034"/>
              </a:xfrm>
              <a:custGeom>
                <a:avLst/>
                <a:gdLst>
                  <a:gd name="connsiteX0" fmla="*/ 2338321 w 2464277"/>
                  <a:gd name="connsiteY0" fmla="*/ 3739035 h 3739034"/>
                  <a:gd name="connsiteX1" fmla="*/ 125957 w 2464277"/>
                  <a:gd name="connsiteY1" fmla="*/ 3739035 h 3739034"/>
                  <a:gd name="connsiteX2" fmla="*/ 0 w 2464277"/>
                  <a:gd name="connsiteY2" fmla="*/ 3613078 h 3739034"/>
                  <a:gd name="connsiteX3" fmla="*/ 0 w 2464277"/>
                  <a:gd name="connsiteY3" fmla="*/ 125957 h 3739034"/>
                  <a:gd name="connsiteX4" fmla="*/ 125957 w 2464277"/>
                  <a:gd name="connsiteY4" fmla="*/ 0 h 3739034"/>
                  <a:gd name="connsiteX5" fmla="*/ 2338321 w 2464277"/>
                  <a:gd name="connsiteY5" fmla="*/ 0 h 3739034"/>
                  <a:gd name="connsiteX6" fmla="*/ 2464278 w 2464277"/>
                  <a:gd name="connsiteY6" fmla="*/ 125957 h 3739034"/>
                  <a:gd name="connsiteX7" fmla="*/ 2464278 w 2464277"/>
                  <a:gd name="connsiteY7" fmla="*/ 3613078 h 3739034"/>
                  <a:gd name="connsiteX8" fmla="*/ 2338321 w 2464277"/>
                  <a:gd name="connsiteY8" fmla="*/ 3739035 h 3739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64277" h="3739034">
                    <a:moveTo>
                      <a:pt x="2338321" y="3739035"/>
                    </a:moveTo>
                    <a:lnTo>
                      <a:pt x="125957" y="3739035"/>
                    </a:lnTo>
                    <a:cubicBezTo>
                      <a:pt x="56432" y="3739035"/>
                      <a:pt x="0" y="3682603"/>
                      <a:pt x="0" y="3613078"/>
                    </a:cubicBezTo>
                    <a:lnTo>
                      <a:pt x="0" y="125957"/>
                    </a:lnTo>
                    <a:cubicBezTo>
                      <a:pt x="0" y="56432"/>
                      <a:pt x="56432" y="0"/>
                      <a:pt x="125957" y="0"/>
                    </a:cubicBezTo>
                    <a:lnTo>
                      <a:pt x="2338321" y="0"/>
                    </a:lnTo>
                    <a:cubicBezTo>
                      <a:pt x="2407846" y="0"/>
                      <a:pt x="2464278" y="56432"/>
                      <a:pt x="2464278" y="125957"/>
                    </a:cubicBezTo>
                    <a:lnTo>
                      <a:pt x="2464278" y="3613078"/>
                    </a:lnTo>
                    <a:cubicBezTo>
                      <a:pt x="2464278" y="3682603"/>
                      <a:pt x="2407846" y="3739035"/>
                      <a:pt x="2338321" y="3739035"/>
                    </a:cubicBezTo>
                    <a:close/>
                  </a:path>
                </a:pathLst>
              </a:custGeom>
              <a:solidFill>
                <a:srgbClr val="595959">
                  <a:alpha val="12000"/>
                </a:srgbClr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18" name="图形 7"/>
              <p:cNvGrpSpPr/>
              <p:nvPr/>
            </p:nvGrpSpPr>
            <p:grpSpPr>
              <a:xfrm>
                <a:off x="4689441" y="-1993915"/>
                <a:ext cx="2464277" cy="4340537"/>
                <a:chOff x="4689441" y="-1993915"/>
                <a:chExt cx="2464277" cy="4340537"/>
              </a:xfrm>
              <a:solidFill>
                <a:schemeClr val="accent1"/>
              </a:solidFill>
            </p:grpSpPr>
            <p:grpSp>
              <p:nvGrpSpPr>
                <p:cNvPr id="119" name="图形 7"/>
                <p:cNvGrpSpPr/>
                <p:nvPr/>
              </p:nvGrpSpPr>
              <p:grpSpPr>
                <a:xfrm>
                  <a:off x="4689441" y="-1993915"/>
                  <a:ext cx="2464277" cy="4340537"/>
                  <a:chOff x="4689441" y="-1993915"/>
                  <a:chExt cx="2464277" cy="4340537"/>
                </a:xfrm>
                <a:solidFill>
                  <a:schemeClr val="accent1"/>
                </a:solidFill>
              </p:grpSpPr>
              <p:sp>
                <p:nvSpPr>
                  <p:cNvPr id="128" name="îṡļïďé"/>
                  <p:cNvSpPr/>
                  <p:nvPr/>
                </p:nvSpPr>
                <p:spPr>
                  <a:xfrm>
                    <a:off x="4689441" y="-1392412"/>
                    <a:ext cx="2464277" cy="3739034"/>
                  </a:xfrm>
                  <a:custGeom>
                    <a:avLst/>
                    <a:gdLst>
                      <a:gd name="connsiteX0" fmla="*/ 2338321 w 2464277"/>
                      <a:gd name="connsiteY0" fmla="*/ 3739035 h 3739034"/>
                      <a:gd name="connsiteX1" fmla="*/ 125957 w 2464277"/>
                      <a:gd name="connsiteY1" fmla="*/ 3739035 h 3739034"/>
                      <a:gd name="connsiteX2" fmla="*/ 0 w 2464277"/>
                      <a:gd name="connsiteY2" fmla="*/ 3613078 h 3739034"/>
                      <a:gd name="connsiteX3" fmla="*/ 0 w 2464277"/>
                      <a:gd name="connsiteY3" fmla="*/ 125957 h 3739034"/>
                      <a:gd name="connsiteX4" fmla="*/ 125957 w 2464277"/>
                      <a:gd name="connsiteY4" fmla="*/ 0 h 3739034"/>
                      <a:gd name="connsiteX5" fmla="*/ 2338321 w 2464277"/>
                      <a:gd name="connsiteY5" fmla="*/ 0 h 3739034"/>
                      <a:gd name="connsiteX6" fmla="*/ 2464278 w 2464277"/>
                      <a:gd name="connsiteY6" fmla="*/ 125957 h 3739034"/>
                      <a:gd name="connsiteX7" fmla="*/ 2464278 w 2464277"/>
                      <a:gd name="connsiteY7" fmla="*/ 3613078 h 3739034"/>
                      <a:gd name="connsiteX8" fmla="*/ 2338321 w 2464277"/>
                      <a:gd name="connsiteY8" fmla="*/ 3739035 h 37390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464277" h="3739034">
                        <a:moveTo>
                          <a:pt x="2338321" y="3739035"/>
                        </a:moveTo>
                        <a:lnTo>
                          <a:pt x="125957" y="3739035"/>
                        </a:lnTo>
                        <a:cubicBezTo>
                          <a:pt x="56432" y="3739035"/>
                          <a:pt x="0" y="3682603"/>
                          <a:pt x="0" y="3613078"/>
                        </a:cubicBezTo>
                        <a:lnTo>
                          <a:pt x="0" y="125957"/>
                        </a:lnTo>
                        <a:cubicBezTo>
                          <a:pt x="0" y="56432"/>
                          <a:pt x="56432" y="0"/>
                          <a:pt x="125957" y="0"/>
                        </a:cubicBezTo>
                        <a:lnTo>
                          <a:pt x="2338321" y="0"/>
                        </a:lnTo>
                        <a:cubicBezTo>
                          <a:pt x="2407846" y="0"/>
                          <a:pt x="2464278" y="56432"/>
                          <a:pt x="2464278" y="125957"/>
                        </a:cubicBezTo>
                        <a:lnTo>
                          <a:pt x="2464278" y="3613078"/>
                        </a:lnTo>
                        <a:cubicBezTo>
                          <a:pt x="2464278" y="3682603"/>
                          <a:pt x="2407846" y="3739035"/>
                          <a:pt x="2338321" y="3739035"/>
                        </a:cubicBezTo>
                        <a:close/>
                      </a:path>
                    </a:pathLst>
                  </a:custGeom>
                  <a:solidFill>
                    <a:srgbClr val="009EE3"/>
                  </a:solidFill>
                  <a:ln w="1308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" name="išľïdê"/>
                  <p:cNvSpPr/>
                  <p:nvPr/>
                </p:nvSpPr>
                <p:spPr>
                  <a:xfrm>
                    <a:off x="4934939" y="-1073984"/>
                    <a:ext cx="1973412" cy="3198807"/>
                  </a:xfrm>
                  <a:custGeom>
                    <a:avLst/>
                    <a:gdLst>
                      <a:gd name="connsiteX0" fmla="*/ 1905982 w 1973412"/>
                      <a:gd name="connsiteY0" fmla="*/ 0 h 3198807"/>
                      <a:gd name="connsiteX1" fmla="*/ 67430 w 1973412"/>
                      <a:gd name="connsiteY1" fmla="*/ 0 h 3198807"/>
                      <a:gd name="connsiteX2" fmla="*/ 0 w 1973412"/>
                      <a:gd name="connsiteY2" fmla="*/ 69918 h 3198807"/>
                      <a:gd name="connsiteX3" fmla="*/ 0 w 1973412"/>
                      <a:gd name="connsiteY3" fmla="*/ 3128890 h 3198807"/>
                      <a:gd name="connsiteX4" fmla="*/ 67430 w 1973412"/>
                      <a:gd name="connsiteY4" fmla="*/ 3198808 h 3198807"/>
                      <a:gd name="connsiteX5" fmla="*/ 1905982 w 1973412"/>
                      <a:gd name="connsiteY5" fmla="*/ 3198808 h 3198807"/>
                      <a:gd name="connsiteX6" fmla="*/ 1973412 w 1973412"/>
                      <a:gd name="connsiteY6" fmla="*/ 3128890 h 3198807"/>
                      <a:gd name="connsiteX7" fmla="*/ 1973412 w 1973412"/>
                      <a:gd name="connsiteY7" fmla="*/ 70049 h 3198807"/>
                      <a:gd name="connsiteX8" fmla="*/ 1905982 w 1973412"/>
                      <a:gd name="connsiteY8" fmla="*/ 0 h 31988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973412" h="3198807">
                        <a:moveTo>
                          <a:pt x="1905982" y="0"/>
                        </a:moveTo>
                        <a:lnTo>
                          <a:pt x="67430" y="0"/>
                        </a:lnTo>
                        <a:cubicBezTo>
                          <a:pt x="30245" y="0"/>
                          <a:pt x="0" y="31293"/>
                          <a:pt x="0" y="69918"/>
                        </a:cubicBezTo>
                        <a:lnTo>
                          <a:pt x="0" y="3128890"/>
                        </a:lnTo>
                        <a:cubicBezTo>
                          <a:pt x="0" y="3167515"/>
                          <a:pt x="30245" y="3198808"/>
                          <a:pt x="67430" y="3198808"/>
                        </a:cubicBezTo>
                        <a:lnTo>
                          <a:pt x="1905982" y="3198808"/>
                        </a:lnTo>
                        <a:cubicBezTo>
                          <a:pt x="1943167" y="3198808"/>
                          <a:pt x="1973412" y="3167515"/>
                          <a:pt x="1973412" y="3128890"/>
                        </a:cubicBezTo>
                        <a:lnTo>
                          <a:pt x="1973412" y="70049"/>
                        </a:lnTo>
                        <a:cubicBezTo>
                          <a:pt x="1973412" y="31293"/>
                          <a:pt x="1943167" y="0"/>
                          <a:pt x="1905982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1308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" name="íṡ1iḋé"/>
                  <p:cNvSpPr/>
                  <p:nvPr/>
                </p:nvSpPr>
                <p:spPr>
                  <a:xfrm>
                    <a:off x="5340961" y="-1926616"/>
                    <a:ext cx="1161369" cy="671813"/>
                  </a:xfrm>
                  <a:custGeom>
                    <a:avLst/>
                    <a:gdLst>
                      <a:gd name="connsiteX0" fmla="*/ 989587 w 1161369"/>
                      <a:gd name="connsiteY0" fmla="*/ 308346 h 671813"/>
                      <a:gd name="connsiteX1" fmla="*/ 741339 w 1161369"/>
                      <a:gd name="connsiteY1" fmla="*/ 308346 h 671813"/>
                      <a:gd name="connsiteX2" fmla="*/ 782059 w 1161369"/>
                      <a:gd name="connsiteY2" fmla="*/ 190899 h 671813"/>
                      <a:gd name="connsiteX3" fmla="*/ 591160 w 1161369"/>
                      <a:gd name="connsiteY3" fmla="*/ 0 h 671813"/>
                      <a:gd name="connsiteX4" fmla="*/ 400260 w 1161369"/>
                      <a:gd name="connsiteY4" fmla="*/ 190899 h 671813"/>
                      <a:gd name="connsiteX5" fmla="*/ 440980 w 1161369"/>
                      <a:gd name="connsiteY5" fmla="*/ 308346 h 671813"/>
                      <a:gd name="connsiteX6" fmla="*/ 171652 w 1161369"/>
                      <a:gd name="connsiteY6" fmla="*/ 308346 h 671813"/>
                      <a:gd name="connsiteX7" fmla="*/ 0 w 1161369"/>
                      <a:gd name="connsiteY7" fmla="*/ 671814 h 671813"/>
                      <a:gd name="connsiteX8" fmla="*/ 1161370 w 1161369"/>
                      <a:gd name="connsiteY8" fmla="*/ 671814 h 671813"/>
                      <a:gd name="connsiteX9" fmla="*/ 989587 w 1161369"/>
                      <a:gd name="connsiteY9" fmla="*/ 308346 h 671813"/>
                      <a:gd name="connsiteX10" fmla="*/ 591160 w 1161369"/>
                      <a:gd name="connsiteY10" fmla="*/ 80262 h 671813"/>
                      <a:gd name="connsiteX11" fmla="*/ 701667 w 1161369"/>
                      <a:gd name="connsiteY11" fmla="*/ 190768 h 671813"/>
                      <a:gd name="connsiteX12" fmla="*/ 591160 w 1161369"/>
                      <a:gd name="connsiteY12" fmla="*/ 301275 h 671813"/>
                      <a:gd name="connsiteX13" fmla="*/ 480653 w 1161369"/>
                      <a:gd name="connsiteY13" fmla="*/ 190768 h 671813"/>
                      <a:gd name="connsiteX14" fmla="*/ 591160 w 1161369"/>
                      <a:gd name="connsiteY14" fmla="*/ 80262 h 6718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161369" h="671813">
                        <a:moveTo>
                          <a:pt x="989587" y="308346"/>
                        </a:moveTo>
                        <a:lnTo>
                          <a:pt x="741339" y="308346"/>
                        </a:lnTo>
                        <a:cubicBezTo>
                          <a:pt x="766740" y="275874"/>
                          <a:pt x="782059" y="235154"/>
                          <a:pt x="782059" y="190899"/>
                        </a:cubicBezTo>
                        <a:cubicBezTo>
                          <a:pt x="782059" y="85630"/>
                          <a:pt x="696429" y="0"/>
                          <a:pt x="591160" y="0"/>
                        </a:cubicBezTo>
                        <a:cubicBezTo>
                          <a:pt x="485890" y="0"/>
                          <a:pt x="400260" y="85630"/>
                          <a:pt x="400260" y="190899"/>
                        </a:cubicBezTo>
                        <a:cubicBezTo>
                          <a:pt x="400260" y="235154"/>
                          <a:pt x="415579" y="275874"/>
                          <a:pt x="440980" y="308346"/>
                        </a:cubicBezTo>
                        <a:lnTo>
                          <a:pt x="171652" y="308346"/>
                        </a:lnTo>
                        <a:lnTo>
                          <a:pt x="0" y="671814"/>
                        </a:lnTo>
                        <a:lnTo>
                          <a:pt x="1161370" y="671814"/>
                        </a:lnTo>
                        <a:lnTo>
                          <a:pt x="989587" y="308346"/>
                        </a:lnTo>
                        <a:close/>
                        <a:moveTo>
                          <a:pt x="591160" y="80262"/>
                        </a:moveTo>
                        <a:cubicBezTo>
                          <a:pt x="652043" y="80262"/>
                          <a:pt x="701667" y="129885"/>
                          <a:pt x="701667" y="190768"/>
                        </a:cubicBezTo>
                        <a:cubicBezTo>
                          <a:pt x="701667" y="251652"/>
                          <a:pt x="652043" y="301275"/>
                          <a:pt x="591160" y="301275"/>
                        </a:cubicBezTo>
                        <a:cubicBezTo>
                          <a:pt x="530276" y="301275"/>
                          <a:pt x="480653" y="251652"/>
                          <a:pt x="480653" y="190768"/>
                        </a:cubicBezTo>
                        <a:cubicBezTo>
                          <a:pt x="480653" y="129885"/>
                          <a:pt x="530276" y="80262"/>
                          <a:pt x="591160" y="80262"/>
                        </a:cubicBezTo>
                        <a:close/>
                      </a:path>
                    </a:pathLst>
                  </a:custGeom>
                  <a:solidFill>
                    <a:srgbClr val="595959">
                      <a:alpha val="12000"/>
                    </a:srgbClr>
                  </a:solidFill>
                  <a:ln w="1308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" name="íşḻïďè"/>
                  <p:cNvSpPr/>
                  <p:nvPr/>
                </p:nvSpPr>
                <p:spPr>
                  <a:xfrm>
                    <a:off x="5340961" y="-1993915"/>
                    <a:ext cx="1161369" cy="671813"/>
                  </a:xfrm>
                  <a:custGeom>
                    <a:avLst/>
                    <a:gdLst>
                      <a:gd name="connsiteX0" fmla="*/ 989587 w 1161369"/>
                      <a:gd name="connsiteY0" fmla="*/ 308346 h 671813"/>
                      <a:gd name="connsiteX1" fmla="*/ 741339 w 1161369"/>
                      <a:gd name="connsiteY1" fmla="*/ 308346 h 671813"/>
                      <a:gd name="connsiteX2" fmla="*/ 782059 w 1161369"/>
                      <a:gd name="connsiteY2" fmla="*/ 190899 h 671813"/>
                      <a:gd name="connsiteX3" fmla="*/ 591160 w 1161369"/>
                      <a:gd name="connsiteY3" fmla="*/ 0 h 671813"/>
                      <a:gd name="connsiteX4" fmla="*/ 400260 w 1161369"/>
                      <a:gd name="connsiteY4" fmla="*/ 190899 h 671813"/>
                      <a:gd name="connsiteX5" fmla="*/ 440980 w 1161369"/>
                      <a:gd name="connsiteY5" fmla="*/ 308346 h 671813"/>
                      <a:gd name="connsiteX6" fmla="*/ 171652 w 1161369"/>
                      <a:gd name="connsiteY6" fmla="*/ 308346 h 671813"/>
                      <a:gd name="connsiteX7" fmla="*/ 0 w 1161369"/>
                      <a:gd name="connsiteY7" fmla="*/ 671814 h 671813"/>
                      <a:gd name="connsiteX8" fmla="*/ 1161370 w 1161369"/>
                      <a:gd name="connsiteY8" fmla="*/ 671814 h 671813"/>
                      <a:gd name="connsiteX9" fmla="*/ 989587 w 1161369"/>
                      <a:gd name="connsiteY9" fmla="*/ 308346 h 671813"/>
                      <a:gd name="connsiteX10" fmla="*/ 591160 w 1161369"/>
                      <a:gd name="connsiteY10" fmla="*/ 80392 h 671813"/>
                      <a:gd name="connsiteX11" fmla="*/ 701667 w 1161369"/>
                      <a:gd name="connsiteY11" fmla="*/ 190899 h 671813"/>
                      <a:gd name="connsiteX12" fmla="*/ 591160 w 1161369"/>
                      <a:gd name="connsiteY12" fmla="*/ 301406 h 671813"/>
                      <a:gd name="connsiteX13" fmla="*/ 480653 w 1161369"/>
                      <a:gd name="connsiteY13" fmla="*/ 190899 h 671813"/>
                      <a:gd name="connsiteX14" fmla="*/ 591160 w 1161369"/>
                      <a:gd name="connsiteY14" fmla="*/ 80392 h 6718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161369" h="671813">
                        <a:moveTo>
                          <a:pt x="989587" y="308346"/>
                        </a:moveTo>
                        <a:lnTo>
                          <a:pt x="741339" y="308346"/>
                        </a:lnTo>
                        <a:cubicBezTo>
                          <a:pt x="766740" y="275874"/>
                          <a:pt x="782059" y="235154"/>
                          <a:pt x="782059" y="190899"/>
                        </a:cubicBezTo>
                        <a:cubicBezTo>
                          <a:pt x="782059" y="85630"/>
                          <a:pt x="696429" y="0"/>
                          <a:pt x="591160" y="0"/>
                        </a:cubicBezTo>
                        <a:cubicBezTo>
                          <a:pt x="485890" y="0"/>
                          <a:pt x="400260" y="85630"/>
                          <a:pt x="400260" y="190899"/>
                        </a:cubicBezTo>
                        <a:cubicBezTo>
                          <a:pt x="400260" y="235154"/>
                          <a:pt x="415579" y="275874"/>
                          <a:pt x="440980" y="308346"/>
                        </a:cubicBezTo>
                        <a:lnTo>
                          <a:pt x="171652" y="308346"/>
                        </a:lnTo>
                        <a:lnTo>
                          <a:pt x="0" y="671814"/>
                        </a:lnTo>
                        <a:lnTo>
                          <a:pt x="1161370" y="671814"/>
                        </a:lnTo>
                        <a:lnTo>
                          <a:pt x="989587" y="308346"/>
                        </a:lnTo>
                        <a:close/>
                        <a:moveTo>
                          <a:pt x="591160" y="80392"/>
                        </a:moveTo>
                        <a:cubicBezTo>
                          <a:pt x="652043" y="80392"/>
                          <a:pt x="701667" y="130016"/>
                          <a:pt x="701667" y="190899"/>
                        </a:cubicBezTo>
                        <a:cubicBezTo>
                          <a:pt x="701667" y="251783"/>
                          <a:pt x="652043" y="301406"/>
                          <a:pt x="591160" y="301406"/>
                        </a:cubicBezTo>
                        <a:cubicBezTo>
                          <a:pt x="530276" y="301406"/>
                          <a:pt x="480653" y="251783"/>
                          <a:pt x="480653" y="190899"/>
                        </a:cubicBezTo>
                        <a:cubicBezTo>
                          <a:pt x="480653" y="130016"/>
                          <a:pt x="530276" y="80392"/>
                          <a:pt x="591160" y="80392"/>
                        </a:cubicBezTo>
                        <a:close/>
                      </a:path>
                    </a:pathLst>
                  </a:custGeom>
                  <a:solidFill>
                    <a:srgbClr val="006ED1"/>
                  </a:solidFill>
                  <a:ln w="1308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20" name="图形 7"/>
                <p:cNvGrpSpPr/>
                <p:nvPr/>
              </p:nvGrpSpPr>
              <p:grpSpPr>
                <a:xfrm>
                  <a:off x="5074775" y="145649"/>
                  <a:ext cx="1085952" cy="426577"/>
                  <a:chOff x="5074775" y="145649"/>
                  <a:chExt cx="1085952" cy="426577"/>
                </a:xfrm>
                <a:solidFill>
                  <a:srgbClr val="7A7A7A"/>
                </a:solidFill>
              </p:grpSpPr>
              <p:grpSp>
                <p:nvGrpSpPr>
                  <p:cNvPr id="122" name="图形 7"/>
                  <p:cNvGrpSpPr/>
                  <p:nvPr/>
                </p:nvGrpSpPr>
                <p:grpSpPr>
                  <a:xfrm>
                    <a:off x="5074775" y="145649"/>
                    <a:ext cx="1085952" cy="166938"/>
                    <a:chOff x="5074775" y="145649"/>
                    <a:chExt cx="1085952" cy="166938"/>
                  </a:xfrm>
                  <a:solidFill>
                    <a:srgbClr val="7A7A7A"/>
                  </a:solidFill>
                </p:grpSpPr>
                <p:sp>
                  <p:nvSpPr>
                    <p:cNvPr id="126" name="ïšlïďe"/>
                    <p:cNvSpPr/>
                    <p:nvPr/>
                  </p:nvSpPr>
                  <p:spPr>
                    <a:xfrm>
                      <a:off x="5074775" y="145649"/>
                      <a:ext cx="1085952" cy="48706"/>
                    </a:xfrm>
                    <a:custGeom>
                      <a:avLst/>
                      <a:gdLst>
                        <a:gd name="connsiteX0" fmla="*/ 0 w 1085952"/>
                        <a:gd name="connsiteY0" fmla="*/ 0 h 48706"/>
                        <a:gd name="connsiteX1" fmla="*/ 1085953 w 1085952"/>
                        <a:gd name="connsiteY1" fmla="*/ 0 h 48706"/>
                        <a:gd name="connsiteX2" fmla="*/ 1085953 w 1085952"/>
                        <a:gd name="connsiteY2" fmla="*/ 48707 h 48706"/>
                        <a:gd name="connsiteX3" fmla="*/ 0 w 1085952"/>
                        <a:gd name="connsiteY3" fmla="*/ 48707 h 487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085952" h="48706">
                          <a:moveTo>
                            <a:pt x="0" y="0"/>
                          </a:moveTo>
                          <a:lnTo>
                            <a:pt x="1085953" y="0"/>
                          </a:lnTo>
                          <a:lnTo>
                            <a:pt x="1085953" y="48707"/>
                          </a:lnTo>
                          <a:lnTo>
                            <a:pt x="0" y="48707"/>
                          </a:lnTo>
                          <a:close/>
                        </a:path>
                      </a:pathLst>
                    </a:custGeom>
                    <a:solidFill>
                      <a:srgbClr val="7A7A7A"/>
                    </a:solidFill>
                    <a:ln w="1308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27" name="íṩ1ïḍé"/>
                    <p:cNvSpPr/>
                    <p:nvPr/>
                  </p:nvSpPr>
                  <p:spPr>
                    <a:xfrm>
                      <a:off x="5074775" y="263881"/>
                      <a:ext cx="1085952" cy="48706"/>
                    </a:xfrm>
                    <a:custGeom>
                      <a:avLst/>
                      <a:gdLst>
                        <a:gd name="connsiteX0" fmla="*/ 0 w 1085952"/>
                        <a:gd name="connsiteY0" fmla="*/ 0 h 48706"/>
                        <a:gd name="connsiteX1" fmla="*/ 1085953 w 1085952"/>
                        <a:gd name="connsiteY1" fmla="*/ 0 h 48706"/>
                        <a:gd name="connsiteX2" fmla="*/ 1085953 w 1085952"/>
                        <a:gd name="connsiteY2" fmla="*/ 48707 h 48706"/>
                        <a:gd name="connsiteX3" fmla="*/ 0 w 1085952"/>
                        <a:gd name="connsiteY3" fmla="*/ 48707 h 487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085952" h="48706">
                          <a:moveTo>
                            <a:pt x="0" y="0"/>
                          </a:moveTo>
                          <a:lnTo>
                            <a:pt x="1085953" y="0"/>
                          </a:lnTo>
                          <a:lnTo>
                            <a:pt x="1085953" y="48707"/>
                          </a:lnTo>
                          <a:lnTo>
                            <a:pt x="0" y="48707"/>
                          </a:lnTo>
                          <a:close/>
                        </a:path>
                      </a:pathLst>
                    </a:custGeom>
                    <a:solidFill>
                      <a:srgbClr val="7A7A7A"/>
                    </a:solidFill>
                    <a:ln w="1308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grpSp>
                <p:nvGrpSpPr>
                  <p:cNvPr id="123" name="图形 7"/>
                  <p:cNvGrpSpPr/>
                  <p:nvPr/>
                </p:nvGrpSpPr>
                <p:grpSpPr>
                  <a:xfrm>
                    <a:off x="5074775" y="405419"/>
                    <a:ext cx="1085952" cy="166807"/>
                    <a:chOff x="5074775" y="405419"/>
                    <a:chExt cx="1085952" cy="166807"/>
                  </a:xfrm>
                  <a:solidFill>
                    <a:srgbClr val="7A7A7A"/>
                  </a:solidFill>
                </p:grpSpPr>
                <p:sp>
                  <p:nvSpPr>
                    <p:cNvPr id="124" name="ïṥľídé"/>
                    <p:cNvSpPr/>
                    <p:nvPr/>
                  </p:nvSpPr>
                  <p:spPr>
                    <a:xfrm>
                      <a:off x="5074775" y="405419"/>
                      <a:ext cx="1085952" cy="48706"/>
                    </a:xfrm>
                    <a:custGeom>
                      <a:avLst/>
                      <a:gdLst>
                        <a:gd name="connsiteX0" fmla="*/ 0 w 1085952"/>
                        <a:gd name="connsiteY0" fmla="*/ 0 h 48706"/>
                        <a:gd name="connsiteX1" fmla="*/ 1085953 w 1085952"/>
                        <a:gd name="connsiteY1" fmla="*/ 0 h 48706"/>
                        <a:gd name="connsiteX2" fmla="*/ 1085953 w 1085952"/>
                        <a:gd name="connsiteY2" fmla="*/ 48707 h 48706"/>
                        <a:gd name="connsiteX3" fmla="*/ 0 w 1085952"/>
                        <a:gd name="connsiteY3" fmla="*/ 48707 h 487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085952" h="48706">
                          <a:moveTo>
                            <a:pt x="0" y="0"/>
                          </a:moveTo>
                          <a:lnTo>
                            <a:pt x="1085953" y="0"/>
                          </a:lnTo>
                          <a:lnTo>
                            <a:pt x="1085953" y="48707"/>
                          </a:lnTo>
                          <a:lnTo>
                            <a:pt x="0" y="48707"/>
                          </a:lnTo>
                          <a:close/>
                        </a:path>
                      </a:pathLst>
                    </a:custGeom>
                    <a:solidFill>
                      <a:srgbClr val="7A7A7A"/>
                    </a:solidFill>
                    <a:ln w="1308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25" name="íśḻiḋê"/>
                    <p:cNvSpPr/>
                    <p:nvPr/>
                  </p:nvSpPr>
                  <p:spPr>
                    <a:xfrm>
                      <a:off x="5074775" y="523520"/>
                      <a:ext cx="1085952" cy="48706"/>
                    </a:xfrm>
                    <a:custGeom>
                      <a:avLst/>
                      <a:gdLst>
                        <a:gd name="connsiteX0" fmla="*/ 0 w 1085952"/>
                        <a:gd name="connsiteY0" fmla="*/ 0 h 48706"/>
                        <a:gd name="connsiteX1" fmla="*/ 1085953 w 1085952"/>
                        <a:gd name="connsiteY1" fmla="*/ 0 h 48706"/>
                        <a:gd name="connsiteX2" fmla="*/ 1085953 w 1085952"/>
                        <a:gd name="connsiteY2" fmla="*/ 48707 h 48706"/>
                        <a:gd name="connsiteX3" fmla="*/ 0 w 1085952"/>
                        <a:gd name="connsiteY3" fmla="*/ 48707 h 487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085952" h="48706">
                          <a:moveTo>
                            <a:pt x="0" y="0"/>
                          </a:moveTo>
                          <a:lnTo>
                            <a:pt x="1085953" y="0"/>
                          </a:lnTo>
                          <a:lnTo>
                            <a:pt x="1085953" y="48707"/>
                          </a:lnTo>
                          <a:lnTo>
                            <a:pt x="0" y="48707"/>
                          </a:lnTo>
                          <a:close/>
                        </a:path>
                      </a:pathLst>
                    </a:custGeom>
                    <a:solidFill>
                      <a:srgbClr val="7A7A7A"/>
                    </a:solidFill>
                    <a:ln w="1308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</p:grpSp>
            <p:sp>
              <p:nvSpPr>
                <p:cNvPr id="121" name="ísļïḑè"/>
                <p:cNvSpPr/>
                <p:nvPr/>
              </p:nvSpPr>
              <p:spPr>
                <a:xfrm>
                  <a:off x="5050160" y="1003125"/>
                  <a:ext cx="1658388" cy="727852"/>
                </a:xfrm>
                <a:custGeom>
                  <a:avLst/>
                  <a:gdLst>
                    <a:gd name="connsiteX0" fmla="*/ 0 w 1658388"/>
                    <a:gd name="connsiteY0" fmla="*/ 461536 h 727852"/>
                    <a:gd name="connsiteX1" fmla="*/ 206742 w 1658388"/>
                    <a:gd name="connsiteY1" fmla="*/ 461536 h 727852"/>
                    <a:gd name="connsiteX2" fmla="*/ 256366 w 1658388"/>
                    <a:gd name="connsiteY2" fmla="*/ 252307 h 727852"/>
                    <a:gd name="connsiteX3" fmla="*/ 380489 w 1658388"/>
                    <a:gd name="connsiteY3" fmla="*/ 727853 h 727852"/>
                    <a:gd name="connsiteX4" fmla="*/ 483795 w 1658388"/>
                    <a:gd name="connsiteY4" fmla="*/ 0 h 727852"/>
                    <a:gd name="connsiteX5" fmla="*/ 570734 w 1658388"/>
                    <a:gd name="connsiteY5" fmla="*/ 461536 h 727852"/>
                    <a:gd name="connsiteX6" fmla="*/ 672730 w 1658388"/>
                    <a:gd name="connsiteY6" fmla="*/ 463500 h 727852"/>
                    <a:gd name="connsiteX7" fmla="*/ 781666 w 1658388"/>
                    <a:gd name="connsiteY7" fmla="*/ 49623 h 727852"/>
                    <a:gd name="connsiteX8" fmla="*/ 951223 w 1658388"/>
                    <a:gd name="connsiteY8" fmla="*/ 727853 h 727852"/>
                    <a:gd name="connsiteX9" fmla="*/ 1054529 w 1658388"/>
                    <a:gd name="connsiteY9" fmla="*/ 214991 h 727852"/>
                    <a:gd name="connsiteX10" fmla="*/ 1137278 w 1658388"/>
                    <a:gd name="connsiteY10" fmla="*/ 545857 h 727852"/>
                    <a:gd name="connsiteX11" fmla="*/ 1203399 w 1658388"/>
                    <a:gd name="connsiteY11" fmla="*/ 363861 h 727852"/>
                    <a:gd name="connsiteX12" fmla="*/ 1273710 w 1658388"/>
                    <a:gd name="connsiteY12" fmla="*/ 698917 h 727852"/>
                    <a:gd name="connsiteX13" fmla="*/ 1368898 w 1658388"/>
                    <a:gd name="connsiteY13" fmla="*/ 260555 h 727852"/>
                    <a:gd name="connsiteX14" fmla="*/ 1418521 w 1658388"/>
                    <a:gd name="connsiteY14" fmla="*/ 479736 h 727852"/>
                    <a:gd name="connsiteX15" fmla="*/ 1658389 w 1658388"/>
                    <a:gd name="connsiteY15" fmla="*/ 479736 h 7278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658388" h="727852">
                      <a:moveTo>
                        <a:pt x="0" y="461536"/>
                      </a:moveTo>
                      <a:lnTo>
                        <a:pt x="206742" y="461536"/>
                      </a:lnTo>
                      <a:lnTo>
                        <a:pt x="256366" y="252307"/>
                      </a:lnTo>
                      <a:lnTo>
                        <a:pt x="380489" y="727853"/>
                      </a:lnTo>
                      <a:lnTo>
                        <a:pt x="483795" y="0"/>
                      </a:lnTo>
                      <a:lnTo>
                        <a:pt x="570734" y="461536"/>
                      </a:lnTo>
                      <a:lnTo>
                        <a:pt x="672730" y="463500"/>
                      </a:lnTo>
                      <a:lnTo>
                        <a:pt x="781666" y="49623"/>
                      </a:lnTo>
                      <a:lnTo>
                        <a:pt x="951223" y="727853"/>
                      </a:lnTo>
                      <a:lnTo>
                        <a:pt x="1054529" y="214991"/>
                      </a:lnTo>
                      <a:lnTo>
                        <a:pt x="1137278" y="545857"/>
                      </a:lnTo>
                      <a:lnTo>
                        <a:pt x="1203399" y="363861"/>
                      </a:lnTo>
                      <a:lnTo>
                        <a:pt x="1273710" y="698917"/>
                      </a:lnTo>
                      <a:lnTo>
                        <a:pt x="1368898" y="260555"/>
                      </a:lnTo>
                      <a:lnTo>
                        <a:pt x="1418521" y="479736"/>
                      </a:lnTo>
                      <a:lnTo>
                        <a:pt x="1658389" y="479736"/>
                      </a:lnTo>
                    </a:path>
                  </a:pathLst>
                </a:custGeom>
                <a:noFill/>
                <a:ln w="39258" cap="rnd">
                  <a:solidFill>
                    <a:srgbClr val="EF4A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0" name="图形 7"/>
            <p:cNvGrpSpPr/>
            <p:nvPr/>
          </p:nvGrpSpPr>
          <p:grpSpPr>
            <a:xfrm>
              <a:off x="4231220" y="1174820"/>
              <a:ext cx="549136" cy="534995"/>
              <a:chOff x="4231220" y="1174820"/>
              <a:chExt cx="549136" cy="534995"/>
            </a:xfrm>
            <a:solidFill>
              <a:schemeClr val="accent1"/>
            </a:solidFill>
          </p:grpSpPr>
          <p:sp>
            <p:nvSpPr>
              <p:cNvPr id="115" name="íŝľide"/>
              <p:cNvSpPr/>
              <p:nvPr/>
            </p:nvSpPr>
            <p:spPr>
              <a:xfrm>
                <a:off x="4231220" y="1174820"/>
                <a:ext cx="549136" cy="534995"/>
              </a:xfrm>
              <a:custGeom>
                <a:avLst/>
                <a:gdLst>
                  <a:gd name="connsiteX0" fmla="*/ 532984 w 549136"/>
                  <a:gd name="connsiteY0" fmla="*/ 232494 h 534995"/>
                  <a:gd name="connsiteX1" fmla="*/ 532198 w 549136"/>
                  <a:gd name="connsiteY1" fmla="*/ 229744 h 534995"/>
                  <a:gd name="connsiteX2" fmla="*/ 477337 w 549136"/>
                  <a:gd name="connsiteY2" fmla="*/ 54295 h 534995"/>
                  <a:gd name="connsiteX3" fmla="*/ 344703 w 549136"/>
                  <a:gd name="connsiteY3" fmla="*/ 10564 h 534995"/>
                  <a:gd name="connsiteX4" fmla="*/ 300972 w 549136"/>
                  <a:gd name="connsiteY4" fmla="*/ 143198 h 534995"/>
                  <a:gd name="connsiteX5" fmla="*/ 337371 w 549136"/>
                  <a:gd name="connsiteY5" fmla="*/ 193083 h 534995"/>
                  <a:gd name="connsiteX6" fmla="*/ 309089 w 549136"/>
                  <a:gd name="connsiteY6" fmla="*/ 206831 h 534995"/>
                  <a:gd name="connsiteX7" fmla="*/ 234327 w 549136"/>
                  <a:gd name="connsiteY7" fmla="*/ 244540 h 534995"/>
                  <a:gd name="connsiteX8" fmla="*/ 205391 w 549136"/>
                  <a:gd name="connsiteY8" fmla="*/ 259597 h 534995"/>
                  <a:gd name="connsiteX9" fmla="*/ 186929 w 549136"/>
                  <a:gd name="connsiteY9" fmla="*/ 200546 h 534995"/>
                  <a:gd name="connsiteX10" fmla="*/ 54295 w 549136"/>
                  <a:gd name="connsiteY10" fmla="*/ 156815 h 534995"/>
                  <a:gd name="connsiteX11" fmla="*/ 10564 w 549136"/>
                  <a:gd name="connsiteY11" fmla="*/ 289449 h 534995"/>
                  <a:gd name="connsiteX12" fmla="*/ 118976 w 549136"/>
                  <a:gd name="connsiteY12" fmla="*/ 437796 h 534995"/>
                  <a:gd name="connsiteX13" fmla="*/ 125653 w 549136"/>
                  <a:gd name="connsiteY13" fmla="*/ 446306 h 534995"/>
                  <a:gd name="connsiteX14" fmla="*/ 370366 w 549136"/>
                  <a:gd name="connsiteY14" fmla="*/ 514784 h 534995"/>
                  <a:gd name="connsiteX15" fmla="*/ 445128 w 549136"/>
                  <a:gd name="connsiteY15" fmla="*/ 477076 h 534995"/>
                  <a:gd name="connsiteX16" fmla="*/ 532984 w 549136"/>
                  <a:gd name="connsiteY16" fmla="*/ 232494 h 534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49136" h="534995">
                    <a:moveTo>
                      <a:pt x="532984" y="232494"/>
                    </a:moveTo>
                    <a:cubicBezTo>
                      <a:pt x="532722" y="231577"/>
                      <a:pt x="532460" y="230661"/>
                      <a:pt x="532198" y="229744"/>
                    </a:cubicBezTo>
                    <a:lnTo>
                      <a:pt x="477337" y="54295"/>
                    </a:lnTo>
                    <a:cubicBezTo>
                      <a:pt x="452853" y="5588"/>
                      <a:pt x="393410" y="-13921"/>
                      <a:pt x="344703" y="10564"/>
                    </a:cubicBezTo>
                    <a:cubicBezTo>
                      <a:pt x="295996" y="35048"/>
                      <a:pt x="276487" y="94491"/>
                      <a:pt x="300972" y="143198"/>
                    </a:cubicBezTo>
                    <a:lnTo>
                      <a:pt x="337371" y="193083"/>
                    </a:lnTo>
                    <a:cubicBezTo>
                      <a:pt x="328075" y="197404"/>
                      <a:pt x="318647" y="201987"/>
                      <a:pt x="309089" y="206831"/>
                    </a:cubicBezTo>
                    <a:lnTo>
                      <a:pt x="234327" y="244540"/>
                    </a:lnTo>
                    <a:cubicBezTo>
                      <a:pt x="224376" y="249515"/>
                      <a:pt x="214687" y="254621"/>
                      <a:pt x="205391" y="259597"/>
                    </a:cubicBezTo>
                    <a:lnTo>
                      <a:pt x="186929" y="200546"/>
                    </a:lnTo>
                    <a:cubicBezTo>
                      <a:pt x="162445" y="151839"/>
                      <a:pt x="103002" y="132330"/>
                      <a:pt x="54295" y="156815"/>
                    </a:cubicBezTo>
                    <a:cubicBezTo>
                      <a:pt x="5588" y="181299"/>
                      <a:pt x="-13921" y="240742"/>
                      <a:pt x="10564" y="289449"/>
                    </a:cubicBezTo>
                    <a:lnTo>
                      <a:pt x="118976" y="437796"/>
                    </a:lnTo>
                    <a:cubicBezTo>
                      <a:pt x="121070" y="440807"/>
                      <a:pt x="123296" y="443688"/>
                      <a:pt x="125653" y="446306"/>
                    </a:cubicBezTo>
                    <a:cubicBezTo>
                      <a:pt x="176717" y="528139"/>
                      <a:pt x="282641" y="559039"/>
                      <a:pt x="370366" y="514784"/>
                    </a:cubicBezTo>
                    <a:lnTo>
                      <a:pt x="445128" y="477076"/>
                    </a:lnTo>
                    <a:cubicBezTo>
                      <a:pt x="535602" y="431773"/>
                      <a:pt x="573442" y="323753"/>
                      <a:pt x="532984" y="232494"/>
                    </a:cubicBezTo>
                    <a:close/>
                  </a:path>
                </a:pathLst>
              </a:custGeom>
              <a:solidFill>
                <a:srgbClr val="EF4A50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í$ḻíḑé"/>
              <p:cNvSpPr/>
              <p:nvPr/>
            </p:nvSpPr>
            <p:spPr>
              <a:xfrm>
                <a:off x="4372797" y="1248834"/>
                <a:ext cx="302512" cy="431788"/>
              </a:xfrm>
              <a:custGeom>
                <a:avLst/>
                <a:gdLst>
                  <a:gd name="connsiteX0" fmla="*/ 263879 w 302512"/>
                  <a:gd name="connsiteY0" fmla="*/ 423879 h 431788"/>
                  <a:gd name="connsiteX1" fmla="*/ 263617 w 302512"/>
                  <a:gd name="connsiteY1" fmla="*/ 424010 h 431788"/>
                  <a:gd name="connsiteX2" fmla="*/ 176154 w 302512"/>
                  <a:gd name="connsiteY2" fmla="*/ 403061 h 431788"/>
                  <a:gd name="connsiteX3" fmla="*/ 9608 w 302512"/>
                  <a:gd name="connsiteY3" fmla="*/ 139363 h 431788"/>
                  <a:gd name="connsiteX4" fmla="*/ 55435 w 302512"/>
                  <a:gd name="connsiteY4" fmla="*/ 11049 h 431788"/>
                  <a:gd name="connsiteX5" fmla="*/ 55435 w 302512"/>
                  <a:gd name="connsiteY5" fmla="*/ 11049 h 431788"/>
                  <a:gd name="connsiteX6" fmla="*/ 185843 w 302512"/>
                  <a:gd name="connsiteY6" fmla="*/ 50460 h 431788"/>
                  <a:gd name="connsiteX7" fmla="*/ 298707 w 302512"/>
                  <a:gd name="connsiteY7" fmla="*/ 341130 h 431788"/>
                  <a:gd name="connsiteX8" fmla="*/ 263879 w 302512"/>
                  <a:gd name="connsiteY8" fmla="*/ 423879 h 431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2512" h="431788">
                    <a:moveTo>
                      <a:pt x="263879" y="423879"/>
                    </a:moveTo>
                    <a:lnTo>
                      <a:pt x="263617" y="424010"/>
                    </a:lnTo>
                    <a:cubicBezTo>
                      <a:pt x="232324" y="439853"/>
                      <a:pt x="194616" y="430818"/>
                      <a:pt x="176154" y="403061"/>
                    </a:cubicBezTo>
                    <a:lnTo>
                      <a:pt x="9608" y="139363"/>
                    </a:lnTo>
                    <a:cubicBezTo>
                      <a:pt x="-13698" y="93013"/>
                      <a:pt x="6859" y="35664"/>
                      <a:pt x="55435" y="11049"/>
                    </a:cubicBezTo>
                    <a:lnTo>
                      <a:pt x="55435" y="11049"/>
                    </a:lnTo>
                    <a:cubicBezTo>
                      <a:pt x="104141" y="-13435"/>
                      <a:pt x="162537" y="4110"/>
                      <a:pt x="185843" y="50460"/>
                    </a:cubicBezTo>
                    <a:lnTo>
                      <a:pt x="298707" y="341130"/>
                    </a:lnTo>
                    <a:cubicBezTo>
                      <a:pt x="310098" y="372553"/>
                      <a:pt x="295172" y="408036"/>
                      <a:pt x="263879" y="423879"/>
                    </a:cubicBezTo>
                    <a:close/>
                  </a:path>
                </a:pathLst>
              </a:custGeom>
              <a:solidFill>
                <a:srgbClr val="FC8B9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" name="图形 7"/>
            <p:cNvGrpSpPr/>
            <p:nvPr/>
          </p:nvGrpSpPr>
          <p:grpSpPr>
            <a:xfrm>
              <a:off x="7193707" y="-283509"/>
              <a:ext cx="330251" cy="325351"/>
              <a:chOff x="7193707" y="-283509"/>
              <a:chExt cx="330251" cy="325351"/>
            </a:xfrm>
            <a:solidFill>
              <a:schemeClr val="accent1"/>
            </a:solidFill>
          </p:grpSpPr>
          <p:sp>
            <p:nvSpPr>
              <p:cNvPr id="113" name="ïṣḻídé"/>
              <p:cNvSpPr/>
              <p:nvPr/>
            </p:nvSpPr>
            <p:spPr>
              <a:xfrm>
                <a:off x="7193707" y="-283509"/>
                <a:ext cx="330251" cy="325351"/>
              </a:xfrm>
              <a:custGeom>
                <a:avLst/>
                <a:gdLst>
                  <a:gd name="connsiteX0" fmla="*/ 247277 w 330251"/>
                  <a:gd name="connsiteY0" fmla="*/ 277147 h 325351"/>
                  <a:gd name="connsiteX1" fmla="*/ 248456 w 330251"/>
                  <a:gd name="connsiteY1" fmla="*/ 275837 h 325351"/>
                  <a:gd name="connsiteX2" fmla="*/ 321254 w 330251"/>
                  <a:gd name="connsiteY2" fmla="*/ 193481 h 325351"/>
                  <a:gd name="connsiteX3" fmla="*/ 302662 w 330251"/>
                  <a:gd name="connsiteY3" fmla="*/ 112172 h 325351"/>
                  <a:gd name="connsiteX4" fmla="*/ 221353 w 330251"/>
                  <a:gd name="connsiteY4" fmla="*/ 130764 h 325351"/>
                  <a:gd name="connsiteX5" fmla="*/ 207081 w 330251"/>
                  <a:gd name="connsiteY5" fmla="*/ 164807 h 325351"/>
                  <a:gd name="connsiteX6" fmla="*/ 191238 w 330251"/>
                  <a:gd name="connsiteY6" fmla="*/ 154594 h 325351"/>
                  <a:gd name="connsiteX7" fmla="*/ 148816 w 330251"/>
                  <a:gd name="connsiteY7" fmla="*/ 128015 h 325351"/>
                  <a:gd name="connsiteX8" fmla="*/ 132188 w 330251"/>
                  <a:gd name="connsiteY8" fmla="*/ 117933 h 325351"/>
                  <a:gd name="connsiteX9" fmla="*/ 156672 w 330251"/>
                  <a:gd name="connsiteY9" fmla="*/ 90306 h 325351"/>
                  <a:gd name="connsiteX10" fmla="*/ 138080 w 330251"/>
                  <a:gd name="connsiteY10" fmla="*/ 8997 h 325351"/>
                  <a:gd name="connsiteX11" fmla="*/ 56771 w 330251"/>
                  <a:gd name="connsiteY11" fmla="*/ 27590 h 325351"/>
                  <a:gd name="connsiteX12" fmla="*/ 14349 w 330251"/>
                  <a:gd name="connsiteY12" fmla="*/ 128931 h 325351"/>
                  <a:gd name="connsiteX13" fmla="*/ 12123 w 330251"/>
                  <a:gd name="connsiteY13" fmla="*/ 134954 h 325351"/>
                  <a:gd name="connsiteX14" fmla="*/ 52843 w 330251"/>
                  <a:gd name="connsiteY14" fmla="*/ 281337 h 325351"/>
                  <a:gd name="connsiteX15" fmla="*/ 95265 w 330251"/>
                  <a:gd name="connsiteY15" fmla="*/ 307916 h 325351"/>
                  <a:gd name="connsiteX16" fmla="*/ 247277 w 330251"/>
                  <a:gd name="connsiteY16" fmla="*/ 277147 h 32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30251" h="325351">
                    <a:moveTo>
                      <a:pt x="247277" y="277147"/>
                    </a:moveTo>
                    <a:cubicBezTo>
                      <a:pt x="247670" y="276754"/>
                      <a:pt x="248063" y="276361"/>
                      <a:pt x="248456" y="275837"/>
                    </a:cubicBezTo>
                    <a:lnTo>
                      <a:pt x="321254" y="193481"/>
                    </a:lnTo>
                    <a:cubicBezTo>
                      <a:pt x="338537" y="165854"/>
                      <a:pt x="330158" y="129455"/>
                      <a:pt x="302662" y="112172"/>
                    </a:cubicBezTo>
                    <a:cubicBezTo>
                      <a:pt x="275035" y="94889"/>
                      <a:pt x="238636" y="103269"/>
                      <a:pt x="221353" y="130764"/>
                    </a:cubicBezTo>
                    <a:lnTo>
                      <a:pt x="207081" y="164807"/>
                    </a:lnTo>
                    <a:cubicBezTo>
                      <a:pt x="201975" y="161402"/>
                      <a:pt x="196738" y="157998"/>
                      <a:pt x="191238" y="154594"/>
                    </a:cubicBezTo>
                    <a:lnTo>
                      <a:pt x="148816" y="128015"/>
                    </a:lnTo>
                    <a:cubicBezTo>
                      <a:pt x="143186" y="124480"/>
                      <a:pt x="137687" y="121075"/>
                      <a:pt x="132188" y="117933"/>
                    </a:cubicBezTo>
                    <a:lnTo>
                      <a:pt x="156672" y="90306"/>
                    </a:lnTo>
                    <a:cubicBezTo>
                      <a:pt x="173955" y="62680"/>
                      <a:pt x="165576" y="26280"/>
                      <a:pt x="138080" y="8997"/>
                    </a:cubicBezTo>
                    <a:cubicBezTo>
                      <a:pt x="110453" y="-8286"/>
                      <a:pt x="74054" y="94"/>
                      <a:pt x="56771" y="27590"/>
                    </a:cubicBezTo>
                    <a:lnTo>
                      <a:pt x="14349" y="128931"/>
                    </a:lnTo>
                    <a:cubicBezTo>
                      <a:pt x="13432" y="130895"/>
                      <a:pt x="12647" y="132990"/>
                      <a:pt x="12123" y="134954"/>
                    </a:cubicBezTo>
                    <a:cubicBezTo>
                      <a:pt x="-13932" y="186411"/>
                      <a:pt x="3089" y="250044"/>
                      <a:pt x="52843" y="281337"/>
                    </a:cubicBezTo>
                    <a:lnTo>
                      <a:pt x="95265" y="307916"/>
                    </a:lnTo>
                    <a:cubicBezTo>
                      <a:pt x="146067" y="340256"/>
                      <a:pt x="213104" y="326246"/>
                      <a:pt x="247277" y="277147"/>
                    </a:cubicBezTo>
                    <a:close/>
                  </a:path>
                </a:pathLst>
              </a:custGeom>
              <a:solidFill>
                <a:srgbClr val="EF4A50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íSḷiḍé"/>
              <p:cNvSpPr/>
              <p:nvPr/>
            </p:nvSpPr>
            <p:spPr>
              <a:xfrm>
                <a:off x="7245765" y="-232979"/>
                <a:ext cx="195216" cy="250185"/>
              </a:xfrm>
              <a:custGeom>
                <a:avLst/>
                <a:gdLst>
                  <a:gd name="connsiteX0" fmla="*/ 20032 w 195216"/>
                  <a:gd name="connsiteY0" fmla="*/ 243639 h 250185"/>
                  <a:gd name="connsiteX1" fmla="*/ 19901 w 195216"/>
                  <a:gd name="connsiteY1" fmla="*/ 243508 h 250185"/>
                  <a:gd name="connsiteX2" fmla="*/ 3535 w 195216"/>
                  <a:gd name="connsiteY2" fmla="*/ 192313 h 250185"/>
                  <a:gd name="connsiteX3" fmla="*/ 86939 w 195216"/>
                  <a:gd name="connsiteY3" fmla="*/ 25636 h 250185"/>
                  <a:gd name="connsiteX4" fmla="*/ 166808 w 195216"/>
                  <a:gd name="connsiteY4" fmla="*/ 9401 h 250185"/>
                  <a:gd name="connsiteX5" fmla="*/ 166808 w 195216"/>
                  <a:gd name="connsiteY5" fmla="*/ 9401 h 250185"/>
                  <a:gd name="connsiteX6" fmla="*/ 186971 w 195216"/>
                  <a:gd name="connsiteY6" fmla="*/ 88353 h 250185"/>
                  <a:gd name="connsiteX7" fmla="*/ 73191 w 195216"/>
                  <a:gd name="connsiteY7" fmla="*/ 236045 h 250185"/>
                  <a:gd name="connsiteX8" fmla="*/ 20032 w 195216"/>
                  <a:gd name="connsiteY8" fmla="*/ 243639 h 250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216" h="250185">
                    <a:moveTo>
                      <a:pt x="20032" y="243639"/>
                    </a:moveTo>
                    <a:lnTo>
                      <a:pt x="19901" y="243508"/>
                    </a:lnTo>
                    <a:cubicBezTo>
                      <a:pt x="2094" y="232379"/>
                      <a:pt x="-4845" y="210382"/>
                      <a:pt x="3535" y="192313"/>
                    </a:cubicBezTo>
                    <a:lnTo>
                      <a:pt x="86939" y="25636"/>
                    </a:lnTo>
                    <a:cubicBezTo>
                      <a:pt x="103436" y="-681"/>
                      <a:pt x="139181" y="-7882"/>
                      <a:pt x="166808" y="9401"/>
                    </a:cubicBezTo>
                    <a:lnTo>
                      <a:pt x="166808" y="9401"/>
                    </a:lnTo>
                    <a:cubicBezTo>
                      <a:pt x="194434" y="26684"/>
                      <a:pt x="203468" y="62036"/>
                      <a:pt x="186971" y="88353"/>
                    </a:cubicBezTo>
                    <a:lnTo>
                      <a:pt x="73191" y="236045"/>
                    </a:lnTo>
                    <a:cubicBezTo>
                      <a:pt x="60490" y="251364"/>
                      <a:pt x="37708" y="254768"/>
                      <a:pt x="20032" y="243639"/>
                    </a:cubicBezTo>
                    <a:close/>
                  </a:path>
                </a:pathLst>
              </a:custGeom>
              <a:solidFill>
                <a:srgbClr val="FC8B9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4" name="图形 7"/>
            <p:cNvGrpSpPr/>
            <p:nvPr/>
          </p:nvGrpSpPr>
          <p:grpSpPr>
            <a:xfrm>
              <a:off x="4025047" y="-1646163"/>
              <a:ext cx="1052980" cy="587918"/>
              <a:chOff x="4025047" y="-1646163"/>
              <a:chExt cx="1052980" cy="587918"/>
            </a:xfrm>
            <a:solidFill>
              <a:srgbClr val="FFFFFF"/>
            </a:solidFill>
          </p:grpSpPr>
          <p:sp>
            <p:nvSpPr>
              <p:cNvPr id="89" name="íşļíḑê"/>
              <p:cNvSpPr/>
              <p:nvPr/>
            </p:nvSpPr>
            <p:spPr>
              <a:xfrm>
                <a:off x="4564519" y="-1341550"/>
                <a:ext cx="56522" cy="30851"/>
              </a:xfrm>
              <a:custGeom>
                <a:avLst/>
                <a:gdLst>
                  <a:gd name="connsiteX0" fmla="*/ 11797 w 56522"/>
                  <a:gd name="connsiteY0" fmla="*/ 30185 h 30851"/>
                  <a:gd name="connsiteX1" fmla="*/ 27771 w 56522"/>
                  <a:gd name="connsiteY1" fmla="*/ 30840 h 30851"/>
                  <a:gd name="connsiteX2" fmla="*/ 45446 w 56522"/>
                  <a:gd name="connsiteY2" fmla="*/ 29530 h 30851"/>
                  <a:gd name="connsiteX3" fmla="*/ 42697 w 56522"/>
                  <a:gd name="connsiteY3" fmla="*/ 201 h 30851"/>
                  <a:gd name="connsiteX4" fmla="*/ 25021 w 56522"/>
                  <a:gd name="connsiteY4" fmla="*/ 2035 h 30851"/>
                  <a:gd name="connsiteX5" fmla="*/ 9440 w 56522"/>
                  <a:gd name="connsiteY5" fmla="*/ 5308 h 30851"/>
                  <a:gd name="connsiteX6" fmla="*/ 11797 w 56522"/>
                  <a:gd name="connsiteY6" fmla="*/ 30185 h 30851"/>
                  <a:gd name="connsiteX7" fmla="*/ 11797 w 56522"/>
                  <a:gd name="connsiteY7" fmla="*/ 30185 h 30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6522" h="30851">
                    <a:moveTo>
                      <a:pt x="11797" y="30185"/>
                    </a:moveTo>
                    <a:cubicBezTo>
                      <a:pt x="17165" y="30840"/>
                      <a:pt x="22271" y="30840"/>
                      <a:pt x="27771" y="30840"/>
                    </a:cubicBezTo>
                    <a:cubicBezTo>
                      <a:pt x="33532" y="30709"/>
                      <a:pt x="39947" y="31363"/>
                      <a:pt x="45446" y="29530"/>
                    </a:cubicBezTo>
                    <a:cubicBezTo>
                      <a:pt x="61813" y="24293"/>
                      <a:pt x="59325" y="2558"/>
                      <a:pt x="42697" y="201"/>
                    </a:cubicBezTo>
                    <a:cubicBezTo>
                      <a:pt x="37067" y="-584"/>
                      <a:pt x="30782" y="1118"/>
                      <a:pt x="25021" y="2035"/>
                    </a:cubicBezTo>
                    <a:cubicBezTo>
                      <a:pt x="19653" y="2820"/>
                      <a:pt x="14677" y="3737"/>
                      <a:pt x="9440" y="5308"/>
                    </a:cubicBezTo>
                    <a:cubicBezTo>
                      <a:pt x="-4439" y="9367"/>
                      <a:pt x="-2475" y="28483"/>
                      <a:pt x="11797" y="30185"/>
                    </a:cubicBezTo>
                    <a:lnTo>
                      <a:pt x="11797" y="30185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" name="îṩḻîḋé"/>
              <p:cNvSpPr/>
              <p:nvPr/>
            </p:nvSpPr>
            <p:spPr>
              <a:xfrm>
                <a:off x="4686781" y="-1262038"/>
                <a:ext cx="41257" cy="31098"/>
              </a:xfrm>
              <a:custGeom>
                <a:avLst/>
                <a:gdLst>
                  <a:gd name="connsiteX0" fmla="*/ 5541 w 41257"/>
                  <a:gd name="connsiteY0" fmla="*/ 23603 h 31098"/>
                  <a:gd name="connsiteX1" fmla="*/ 25835 w 41257"/>
                  <a:gd name="connsiteY1" fmla="*/ 31066 h 31098"/>
                  <a:gd name="connsiteX2" fmla="*/ 41024 w 41257"/>
                  <a:gd name="connsiteY2" fmla="*/ 18758 h 31098"/>
                  <a:gd name="connsiteX3" fmla="*/ 31073 w 41257"/>
                  <a:gd name="connsiteY3" fmla="*/ 1999 h 31098"/>
                  <a:gd name="connsiteX4" fmla="*/ 9600 w 41257"/>
                  <a:gd name="connsiteY4" fmla="*/ 951 h 31098"/>
                  <a:gd name="connsiteX5" fmla="*/ 304 w 41257"/>
                  <a:gd name="connsiteY5" fmla="*/ 10902 h 31098"/>
                  <a:gd name="connsiteX6" fmla="*/ 5541 w 41257"/>
                  <a:gd name="connsiteY6" fmla="*/ 23603 h 31098"/>
                  <a:gd name="connsiteX7" fmla="*/ 5541 w 41257"/>
                  <a:gd name="connsiteY7" fmla="*/ 23603 h 31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57" h="31098">
                    <a:moveTo>
                      <a:pt x="5541" y="23603"/>
                    </a:moveTo>
                    <a:cubicBezTo>
                      <a:pt x="10778" y="27792"/>
                      <a:pt x="19158" y="30542"/>
                      <a:pt x="25835" y="31066"/>
                    </a:cubicBezTo>
                    <a:cubicBezTo>
                      <a:pt x="33168" y="31589"/>
                      <a:pt x="39714" y="25698"/>
                      <a:pt x="41024" y="18758"/>
                    </a:cubicBezTo>
                    <a:cubicBezTo>
                      <a:pt x="42333" y="11295"/>
                      <a:pt x="38012" y="4617"/>
                      <a:pt x="31073" y="1999"/>
                    </a:cubicBezTo>
                    <a:cubicBezTo>
                      <a:pt x="24788" y="-227"/>
                      <a:pt x="15885" y="-620"/>
                      <a:pt x="9600" y="951"/>
                    </a:cubicBezTo>
                    <a:cubicBezTo>
                      <a:pt x="4755" y="2261"/>
                      <a:pt x="1089" y="5927"/>
                      <a:pt x="304" y="10902"/>
                    </a:cubicBezTo>
                    <a:cubicBezTo>
                      <a:pt x="-875" y="16270"/>
                      <a:pt x="1482" y="20329"/>
                      <a:pt x="5541" y="23603"/>
                    </a:cubicBezTo>
                    <a:lnTo>
                      <a:pt x="5541" y="2360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iŝļíďê"/>
              <p:cNvSpPr/>
              <p:nvPr/>
            </p:nvSpPr>
            <p:spPr>
              <a:xfrm>
                <a:off x="4713138" y="-1335012"/>
                <a:ext cx="47853" cy="29069"/>
              </a:xfrm>
              <a:custGeom>
                <a:avLst/>
                <a:gdLst>
                  <a:gd name="connsiteX0" fmla="*/ 11132 w 47853"/>
                  <a:gd name="connsiteY0" fmla="*/ 28885 h 29069"/>
                  <a:gd name="connsiteX1" fmla="*/ 23046 w 47853"/>
                  <a:gd name="connsiteY1" fmla="*/ 29016 h 29069"/>
                  <a:gd name="connsiteX2" fmla="*/ 37056 w 47853"/>
                  <a:gd name="connsiteY2" fmla="*/ 27837 h 29069"/>
                  <a:gd name="connsiteX3" fmla="*/ 47793 w 47853"/>
                  <a:gd name="connsiteY3" fmla="*/ 12780 h 29069"/>
                  <a:gd name="connsiteX4" fmla="*/ 34438 w 47853"/>
                  <a:gd name="connsiteY4" fmla="*/ 80 h 29069"/>
                  <a:gd name="connsiteX5" fmla="*/ 8775 w 47853"/>
                  <a:gd name="connsiteY5" fmla="*/ 5317 h 29069"/>
                  <a:gd name="connsiteX6" fmla="*/ 11132 w 47853"/>
                  <a:gd name="connsiteY6" fmla="*/ 28885 h 29069"/>
                  <a:gd name="connsiteX7" fmla="*/ 11132 w 47853"/>
                  <a:gd name="connsiteY7" fmla="*/ 28885 h 29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853" h="29069">
                    <a:moveTo>
                      <a:pt x="11132" y="28885"/>
                    </a:moveTo>
                    <a:cubicBezTo>
                      <a:pt x="15190" y="29016"/>
                      <a:pt x="19118" y="29146"/>
                      <a:pt x="23046" y="29016"/>
                    </a:cubicBezTo>
                    <a:cubicBezTo>
                      <a:pt x="27629" y="28885"/>
                      <a:pt x="32735" y="29277"/>
                      <a:pt x="37056" y="27837"/>
                    </a:cubicBezTo>
                    <a:cubicBezTo>
                      <a:pt x="43734" y="25611"/>
                      <a:pt x="48447" y="20243"/>
                      <a:pt x="47793" y="12780"/>
                    </a:cubicBezTo>
                    <a:cubicBezTo>
                      <a:pt x="47138" y="5710"/>
                      <a:pt x="41508" y="603"/>
                      <a:pt x="34438" y="80"/>
                    </a:cubicBezTo>
                    <a:cubicBezTo>
                      <a:pt x="26189" y="-575"/>
                      <a:pt x="16631" y="2960"/>
                      <a:pt x="8775" y="5317"/>
                    </a:cubicBezTo>
                    <a:cubicBezTo>
                      <a:pt x="-3664" y="9114"/>
                      <a:pt x="-2878" y="28230"/>
                      <a:pt x="11132" y="28885"/>
                    </a:cubicBezTo>
                    <a:lnTo>
                      <a:pt x="11132" y="28885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ïsḷíḋé"/>
              <p:cNvSpPr/>
              <p:nvPr/>
            </p:nvSpPr>
            <p:spPr>
              <a:xfrm>
                <a:off x="4568386" y="-1460203"/>
                <a:ext cx="37532" cy="29165"/>
              </a:xfrm>
              <a:custGeom>
                <a:avLst/>
                <a:gdLst>
                  <a:gd name="connsiteX0" fmla="*/ 4394 w 37532"/>
                  <a:gd name="connsiteY0" fmla="*/ 22227 h 29165"/>
                  <a:gd name="connsiteX1" fmla="*/ 18666 w 37532"/>
                  <a:gd name="connsiteY1" fmla="*/ 28381 h 29165"/>
                  <a:gd name="connsiteX2" fmla="*/ 37520 w 37532"/>
                  <a:gd name="connsiteY2" fmla="*/ 15157 h 29165"/>
                  <a:gd name="connsiteX3" fmla="*/ 19714 w 37532"/>
                  <a:gd name="connsiteY3" fmla="*/ 493 h 29165"/>
                  <a:gd name="connsiteX4" fmla="*/ 5049 w 37532"/>
                  <a:gd name="connsiteY4" fmla="*/ 5468 h 29165"/>
                  <a:gd name="connsiteX5" fmla="*/ 4394 w 37532"/>
                  <a:gd name="connsiteY5" fmla="*/ 22227 h 29165"/>
                  <a:gd name="connsiteX6" fmla="*/ 4394 w 37532"/>
                  <a:gd name="connsiteY6" fmla="*/ 22227 h 29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532" h="29165">
                    <a:moveTo>
                      <a:pt x="4394" y="22227"/>
                    </a:moveTo>
                    <a:cubicBezTo>
                      <a:pt x="8977" y="24977"/>
                      <a:pt x="13691" y="26548"/>
                      <a:pt x="18666" y="28381"/>
                    </a:cubicBezTo>
                    <a:cubicBezTo>
                      <a:pt x="27569" y="31654"/>
                      <a:pt x="37258" y="24191"/>
                      <a:pt x="37520" y="15157"/>
                    </a:cubicBezTo>
                    <a:cubicBezTo>
                      <a:pt x="37913" y="6123"/>
                      <a:pt x="28879" y="-2126"/>
                      <a:pt x="19714" y="493"/>
                    </a:cubicBezTo>
                    <a:cubicBezTo>
                      <a:pt x="14607" y="1933"/>
                      <a:pt x="9763" y="3111"/>
                      <a:pt x="5049" y="5468"/>
                    </a:cubicBezTo>
                    <a:cubicBezTo>
                      <a:pt x="-1367" y="8610"/>
                      <a:pt x="-1759" y="18561"/>
                      <a:pt x="4394" y="22227"/>
                    </a:cubicBezTo>
                    <a:lnTo>
                      <a:pt x="4394" y="22227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ïş1ïḑé"/>
              <p:cNvSpPr/>
              <p:nvPr/>
            </p:nvSpPr>
            <p:spPr>
              <a:xfrm>
                <a:off x="4405959" y="-1409113"/>
                <a:ext cx="37128" cy="35193"/>
              </a:xfrm>
              <a:custGeom>
                <a:avLst/>
                <a:gdLst>
                  <a:gd name="connsiteX0" fmla="*/ 275 w 37128"/>
                  <a:gd name="connsiteY0" fmla="*/ 9500 h 35193"/>
                  <a:gd name="connsiteX1" fmla="*/ 1454 w 37128"/>
                  <a:gd name="connsiteY1" fmla="*/ 14737 h 35193"/>
                  <a:gd name="connsiteX2" fmla="*/ 6167 w 37128"/>
                  <a:gd name="connsiteY2" fmla="*/ 23248 h 35193"/>
                  <a:gd name="connsiteX3" fmla="*/ 19261 w 37128"/>
                  <a:gd name="connsiteY3" fmla="*/ 34377 h 35193"/>
                  <a:gd name="connsiteX4" fmla="*/ 35496 w 37128"/>
                  <a:gd name="connsiteY4" fmla="*/ 14868 h 35193"/>
                  <a:gd name="connsiteX5" fmla="*/ 22403 w 37128"/>
                  <a:gd name="connsiteY5" fmla="*/ 3739 h 35193"/>
                  <a:gd name="connsiteX6" fmla="*/ 13761 w 37128"/>
                  <a:gd name="connsiteY6" fmla="*/ 596 h 35193"/>
                  <a:gd name="connsiteX7" fmla="*/ 10095 w 37128"/>
                  <a:gd name="connsiteY7" fmla="*/ 465 h 35193"/>
                  <a:gd name="connsiteX8" fmla="*/ 8000 w 37128"/>
                  <a:gd name="connsiteY8" fmla="*/ 72 h 35193"/>
                  <a:gd name="connsiteX9" fmla="*/ 275 w 37128"/>
                  <a:gd name="connsiteY9" fmla="*/ 9500 h 35193"/>
                  <a:gd name="connsiteX10" fmla="*/ 275 w 37128"/>
                  <a:gd name="connsiteY10" fmla="*/ 9500 h 35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7128" h="35193">
                    <a:moveTo>
                      <a:pt x="275" y="9500"/>
                    </a:moveTo>
                    <a:cubicBezTo>
                      <a:pt x="799" y="10940"/>
                      <a:pt x="930" y="12642"/>
                      <a:pt x="1454" y="14737"/>
                    </a:cubicBezTo>
                    <a:cubicBezTo>
                      <a:pt x="2370" y="18141"/>
                      <a:pt x="4072" y="20367"/>
                      <a:pt x="6167" y="23248"/>
                    </a:cubicBezTo>
                    <a:cubicBezTo>
                      <a:pt x="9833" y="28223"/>
                      <a:pt x="13369" y="32020"/>
                      <a:pt x="19261" y="34377"/>
                    </a:cubicBezTo>
                    <a:cubicBezTo>
                      <a:pt x="30259" y="38697"/>
                      <a:pt x="41388" y="24950"/>
                      <a:pt x="35496" y="14868"/>
                    </a:cubicBezTo>
                    <a:cubicBezTo>
                      <a:pt x="32223" y="9369"/>
                      <a:pt x="27902" y="6619"/>
                      <a:pt x="22403" y="3739"/>
                    </a:cubicBezTo>
                    <a:cubicBezTo>
                      <a:pt x="19522" y="2167"/>
                      <a:pt x="16904" y="989"/>
                      <a:pt x="13761" y="596"/>
                    </a:cubicBezTo>
                    <a:cubicBezTo>
                      <a:pt x="12583" y="465"/>
                      <a:pt x="11274" y="465"/>
                      <a:pt x="10095" y="465"/>
                    </a:cubicBezTo>
                    <a:cubicBezTo>
                      <a:pt x="6298" y="465"/>
                      <a:pt x="11274" y="727"/>
                      <a:pt x="8000" y="72"/>
                    </a:cubicBezTo>
                    <a:cubicBezTo>
                      <a:pt x="3287" y="-713"/>
                      <a:pt x="-1165" y="5048"/>
                      <a:pt x="275" y="9500"/>
                    </a:cubicBezTo>
                    <a:lnTo>
                      <a:pt x="275" y="9500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íślïḓe"/>
              <p:cNvSpPr/>
              <p:nvPr/>
            </p:nvSpPr>
            <p:spPr>
              <a:xfrm>
                <a:off x="4400813" y="-1235682"/>
                <a:ext cx="37643" cy="42404"/>
              </a:xfrm>
              <a:custGeom>
                <a:avLst/>
                <a:gdLst>
                  <a:gd name="connsiteX0" fmla="*/ 1363 w 37643"/>
                  <a:gd name="connsiteY0" fmla="*/ 18589 h 42404"/>
                  <a:gd name="connsiteX1" fmla="*/ 15372 w 37643"/>
                  <a:gd name="connsiteY1" fmla="*/ 40062 h 42404"/>
                  <a:gd name="connsiteX2" fmla="*/ 37238 w 37643"/>
                  <a:gd name="connsiteY2" fmla="*/ 24612 h 42404"/>
                  <a:gd name="connsiteX3" fmla="*/ 22050 w 37643"/>
                  <a:gd name="connsiteY3" fmla="*/ 4056 h 42404"/>
                  <a:gd name="connsiteX4" fmla="*/ 5422 w 37643"/>
                  <a:gd name="connsiteY4" fmla="*/ 2353 h 42404"/>
                  <a:gd name="connsiteX5" fmla="*/ 1363 w 37643"/>
                  <a:gd name="connsiteY5" fmla="*/ 18589 h 42404"/>
                  <a:gd name="connsiteX6" fmla="*/ 1363 w 37643"/>
                  <a:gd name="connsiteY6" fmla="*/ 18589 h 42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643" h="42404">
                    <a:moveTo>
                      <a:pt x="1363" y="18589"/>
                    </a:moveTo>
                    <a:cubicBezTo>
                      <a:pt x="5160" y="26183"/>
                      <a:pt x="8040" y="34956"/>
                      <a:pt x="15372" y="40062"/>
                    </a:cubicBezTo>
                    <a:cubicBezTo>
                      <a:pt x="25847" y="47263"/>
                      <a:pt x="40250" y="36658"/>
                      <a:pt x="37238" y="24612"/>
                    </a:cubicBezTo>
                    <a:cubicBezTo>
                      <a:pt x="35143" y="16232"/>
                      <a:pt x="27680" y="10078"/>
                      <a:pt x="22050" y="4056"/>
                    </a:cubicBezTo>
                    <a:cubicBezTo>
                      <a:pt x="17729" y="-658"/>
                      <a:pt x="10528" y="-1313"/>
                      <a:pt x="5422" y="2353"/>
                    </a:cubicBezTo>
                    <a:cubicBezTo>
                      <a:pt x="53" y="6019"/>
                      <a:pt x="-1387" y="12828"/>
                      <a:pt x="1363" y="18589"/>
                    </a:cubicBezTo>
                    <a:lnTo>
                      <a:pt x="1363" y="1858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íSļiḓe"/>
              <p:cNvSpPr/>
              <p:nvPr/>
            </p:nvSpPr>
            <p:spPr>
              <a:xfrm>
                <a:off x="4518843" y="-1255173"/>
                <a:ext cx="36332" cy="36348"/>
              </a:xfrm>
              <a:custGeom>
                <a:avLst/>
                <a:gdLst>
                  <a:gd name="connsiteX0" fmla="*/ 13348 w 36332"/>
                  <a:gd name="connsiteY0" fmla="*/ 28391 h 36348"/>
                  <a:gd name="connsiteX1" fmla="*/ 9159 w 36332"/>
                  <a:gd name="connsiteY1" fmla="*/ 26820 h 36348"/>
                  <a:gd name="connsiteX2" fmla="*/ 7457 w 36332"/>
                  <a:gd name="connsiteY2" fmla="*/ 25380 h 36348"/>
                  <a:gd name="connsiteX3" fmla="*/ 7326 w 36332"/>
                  <a:gd name="connsiteY3" fmla="*/ 24987 h 36348"/>
                  <a:gd name="connsiteX4" fmla="*/ 6278 w 36332"/>
                  <a:gd name="connsiteY4" fmla="*/ 23023 h 36348"/>
                  <a:gd name="connsiteX5" fmla="*/ 5885 w 36332"/>
                  <a:gd name="connsiteY5" fmla="*/ 22237 h 36348"/>
                  <a:gd name="connsiteX6" fmla="*/ 5754 w 36332"/>
                  <a:gd name="connsiteY6" fmla="*/ 20797 h 36348"/>
                  <a:gd name="connsiteX7" fmla="*/ 18324 w 36332"/>
                  <a:gd name="connsiteY7" fmla="*/ 36116 h 36348"/>
                  <a:gd name="connsiteX8" fmla="*/ 35345 w 36332"/>
                  <a:gd name="connsiteY8" fmla="*/ 25903 h 36348"/>
                  <a:gd name="connsiteX9" fmla="*/ 7326 w 36332"/>
                  <a:gd name="connsiteY9" fmla="*/ 2466 h 36348"/>
                  <a:gd name="connsiteX10" fmla="*/ 386 w 36332"/>
                  <a:gd name="connsiteY10" fmla="*/ 17655 h 36348"/>
                  <a:gd name="connsiteX11" fmla="*/ 13348 w 36332"/>
                  <a:gd name="connsiteY11" fmla="*/ 28391 h 36348"/>
                  <a:gd name="connsiteX12" fmla="*/ 13348 w 36332"/>
                  <a:gd name="connsiteY12" fmla="*/ 28391 h 36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6332" h="36348">
                    <a:moveTo>
                      <a:pt x="13348" y="28391"/>
                    </a:moveTo>
                    <a:cubicBezTo>
                      <a:pt x="15967" y="28260"/>
                      <a:pt x="9290" y="26820"/>
                      <a:pt x="9159" y="26820"/>
                    </a:cubicBezTo>
                    <a:cubicBezTo>
                      <a:pt x="8635" y="26296"/>
                      <a:pt x="8111" y="25903"/>
                      <a:pt x="7457" y="25380"/>
                    </a:cubicBezTo>
                    <a:cubicBezTo>
                      <a:pt x="8242" y="26165"/>
                      <a:pt x="8242" y="26165"/>
                      <a:pt x="7326" y="24987"/>
                    </a:cubicBezTo>
                    <a:cubicBezTo>
                      <a:pt x="6802" y="24463"/>
                      <a:pt x="6409" y="23677"/>
                      <a:pt x="6278" y="23023"/>
                    </a:cubicBezTo>
                    <a:cubicBezTo>
                      <a:pt x="5885" y="21714"/>
                      <a:pt x="5754" y="21583"/>
                      <a:pt x="5885" y="22237"/>
                    </a:cubicBezTo>
                    <a:cubicBezTo>
                      <a:pt x="6409" y="23285"/>
                      <a:pt x="5362" y="25903"/>
                      <a:pt x="5754" y="20797"/>
                    </a:cubicBezTo>
                    <a:cubicBezTo>
                      <a:pt x="5231" y="28260"/>
                      <a:pt x="11123" y="34938"/>
                      <a:pt x="18324" y="36116"/>
                    </a:cubicBezTo>
                    <a:cubicBezTo>
                      <a:pt x="25787" y="37425"/>
                      <a:pt x="32857" y="33105"/>
                      <a:pt x="35345" y="25903"/>
                    </a:cubicBezTo>
                    <a:cubicBezTo>
                      <a:pt x="40844" y="9930"/>
                      <a:pt x="22252" y="-6306"/>
                      <a:pt x="7326" y="2466"/>
                    </a:cubicBezTo>
                    <a:cubicBezTo>
                      <a:pt x="2219" y="5478"/>
                      <a:pt x="-1185" y="11632"/>
                      <a:pt x="386" y="17655"/>
                    </a:cubicBezTo>
                    <a:cubicBezTo>
                      <a:pt x="2088" y="23285"/>
                      <a:pt x="7326" y="28784"/>
                      <a:pt x="13348" y="28391"/>
                    </a:cubicBezTo>
                    <a:lnTo>
                      <a:pt x="13348" y="28391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îSľíḍè"/>
              <p:cNvSpPr/>
              <p:nvPr/>
            </p:nvSpPr>
            <p:spPr>
              <a:xfrm>
                <a:off x="4304618" y="-1311013"/>
                <a:ext cx="39424" cy="28199"/>
              </a:xfrm>
              <a:custGeom>
                <a:avLst/>
                <a:gdLst>
                  <a:gd name="connsiteX0" fmla="*/ 8131 w 39424"/>
                  <a:gd name="connsiteY0" fmla="*/ 25180 h 28199"/>
                  <a:gd name="connsiteX1" fmla="*/ 24760 w 39424"/>
                  <a:gd name="connsiteY1" fmla="*/ 28191 h 28199"/>
                  <a:gd name="connsiteX2" fmla="*/ 39424 w 39424"/>
                  <a:gd name="connsiteY2" fmla="*/ 14705 h 28199"/>
                  <a:gd name="connsiteX3" fmla="*/ 25938 w 39424"/>
                  <a:gd name="connsiteY3" fmla="*/ 41 h 28199"/>
                  <a:gd name="connsiteX4" fmla="*/ 9179 w 39424"/>
                  <a:gd name="connsiteY4" fmla="*/ 1743 h 28199"/>
                  <a:gd name="connsiteX5" fmla="*/ 8131 w 39424"/>
                  <a:gd name="connsiteY5" fmla="*/ 25180 h 28199"/>
                  <a:gd name="connsiteX6" fmla="*/ 8131 w 39424"/>
                  <a:gd name="connsiteY6" fmla="*/ 25180 h 2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424" h="28199">
                    <a:moveTo>
                      <a:pt x="8131" y="25180"/>
                    </a:moveTo>
                    <a:cubicBezTo>
                      <a:pt x="13631" y="26489"/>
                      <a:pt x="18999" y="28060"/>
                      <a:pt x="24760" y="28191"/>
                    </a:cubicBezTo>
                    <a:cubicBezTo>
                      <a:pt x="32092" y="28453"/>
                      <a:pt x="39424" y="22299"/>
                      <a:pt x="39424" y="14705"/>
                    </a:cubicBezTo>
                    <a:cubicBezTo>
                      <a:pt x="39424" y="7111"/>
                      <a:pt x="33794" y="434"/>
                      <a:pt x="25938" y="41"/>
                    </a:cubicBezTo>
                    <a:cubicBezTo>
                      <a:pt x="20308" y="-221"/>
                      <a:pt x="14809" y="827"/>
                      <a:pt x="9179" y="1743"/>
                    </a:cubicBezTo>
                    <a:cubicBezTo>
                      <a:pt x="-2474" y="3707"/>
                      <a:pt x="-3260" y="22299"/>
                      <a:pt x="8131" y="25180"/>
                    </a:cubicBezTo>
                    <a:lnTo>
                      <a:pt x="8131" y="25180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işlïḍe"/>
              <p:cNvSpPr/>
              <p:nvPr/>
            </p:nvSpPr>
            <p:spPr>
              <a:xfrm>
                <a:off x="4282785" y="-1479890"/>
                <a:ext cx="28948" cy="30013"/>
              </a:xfrm>
              <a:custGeom>
                <a:avLst/>
                <a:gdLst>
                  <a:gd name="connsiteX0" fmla="*/ 13860 w 28948"/>
                  <a:gd name="connsiteY0" fmla="*/ 29999 h 30013"/>
                  <a:gd name="connsiteX1" fmla="*/ 15038 w 28948"/>
                  <a:gd name="connsiteY1" fmla="*/ 15 h 30013"/>
                  <a:gd name="connsiteX2" fmla="*/ 13860 w 28948"/>
                  <a:gd name="connsiteY2" fmla="*/ 29999 h 30013"/>
                  <a:gd name="connsiteX3" fmla="*/ 13860 w 28948"/>
                  <a:gd name="connsiteY3" fmla="*/ 29999 h 30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948" h="30013">
                    <a:moveTo>
                      <a:pt x="13860" y="29999"/>
                    </a:moveTo>
                    <a:cubicBezTo>
                      <a:pt x="33107" y="30784"/>
                      <a:pt x="34416" y="801"/>
                      <a:pt x="15038" y="15"/>
                    </a:cubicBezTo>
                    <a:cubicBezTo>
                      <a:pt x="-4209" y="-770"/>
                      <a:pt x="-5387" y="29213"/>
                      <a:pt x="13860" y="29999"/>
                    </a:cubicBezTo>
                    <a:lnTo>
                      <a:pt x="13860" y="2999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ïSḷiḑé"/>
              <p:cNvSpPr/>
              <p:nvPr/>
            </p:nvSpPr>
            <p:spPr>
              <a:xfrm>
                <a:off x="4441929" y="-1542609"/>
                <a:ext cx="34011" cy="35255"/>
              </a:xfrm>
              <a:custGeom>
                <a:avLst/>
                <a:gdLst>
                  <a:gd name="connsiteX0" fmla="*/ 16286 w 34011"/>
                  <a:gd name="connsiteY0" fmla="*/ 35238 h 35255"/>
                  <a:gd name="connsiteX1" fmla="*/ 17726 w 34011"/>
                  <a:gd name="connsiteY1" fmla="*/ 18 h 35255"/>
                  <a:gd name="connsiteX2" fmla="*/ 16286 w 34011"/>
                  <a:gd name="connsiteY2" fmla="*/ 35238 h 35255"/>
                  <a:gd name="connsiteX3" fmla="*/ 16286 w 34011"/>
                  <a:gd name="connsiteY3" fmla="*/ 35238 h 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011" h="35255">
                    <a:moveTo>
                      <a:pt x="16286" y="35238"/>
                    </a:moveTo>
                    <a:cubicBezTo>
                      <a:pt x="38937" y="36155"/>
                      <a:pt x="40377" y="934"/>
                      <a:pt x="17726" y="18"/>
                    </a:cubicBezTo>
                    <a:cubicBezTo>
                      <a:pt x="-4926" y="-899"/>
                      <a:pt x="-6366" y="34322"/>
                      <a:pt x="16286" y="35238"/>
                    </a:cubicBezTo>
                    <a:lnTo>
                      <a:pt x="16286" y="35238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" name="îṣḻíḋe"/>
              <p:cNvSpPr/>
              <p:nvPr/>
            </p:nvSpPr>
            <p:spPr>
              <a:xfrm>
                <a:off x="4777630" y="-1452771"/>
                <a:ext cx="43555" cy="27030"/>
              </a:xfrm>
              <a:custGeom>
                <a:avLst/>
                <a:gdLst>
                  <a:gd name="connsiteX0" fmla="*/ 7916 w 43555"/>
                  <a:gd name="connsiteY0" fmla="*/ 23306 h 27030"/>
                  <a:gd name="connsiteX1" fmla="*/ 35673 w 43555"/>
                  <a:gd name="connsiteY1" fmla="*/ 26056 h 27030"/>
                  <a:gd name="connsiteX2" fmla="*/ 38947 w 43555"/>
                  <a:gd name="connsiteY2" fmla="*/ 7201 h 27030"/>
                  <a:gd name="connsiteX3" fmla="*/ 12106 w 43555"/>
                  <a:gd name="connsiteY3" fmla="*/ 0 h 27030"/>
                  <a:gd name="connsiteX4" fmla="*/ 7916 w 43555"/>
                  <a:gd name="connsiteY4" fmla="*/ 23306 h 27030"/>
                  <a:gd name="connsiteX5" fmla="*/ 7916 w 43555"/>
                  <a:gd name="connsiteY5" fmla="*/ 23306 h 27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3555" h="27030">
                    <a:moveTo>
                      <a:pt x="7916" y="23306"/>
                    </a:moveTo>
                    <a:cubicBezTo>
                      <a:pt x="17212" y="26972"/>
                      <a:pt x="25853" y="28020"/>
                      <a:pt x="35673" y="26056"/>
                    </a:cubicBezTo>
                    <a:cubicBezTo>
                      <a:pt x="44446" y="24353"/>
                      <a:pt x="46410" y="11784"/>
                      <a:pt x="38947" y="7201"/>
                    </a:cubicBezTo>
                    <a:cubicBezTo>
                      <a:pt x="30436" y="1964"/>
                      <a:pt x="21925" y="0"/>
                      <a:pt x="12106" y="0"/>
                    </a:cubicBezTo>
                    <a:cubicBezTo>
                      <a:pt x="-1511" y="131"/>
                      <a:pt x="-4654" y="18461"/>
                      <a:pt x="7916" y="23306"/>
                    </a:cubicBezTo>
                    <a:lnTo>
                      <a:pt x="7916" y="23306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í$ḻîďê"/>
              <p:cNvSpPr/>
              <p:nvPr/>
            </p:nvSpPr>
            <p:spPr>
              <a:xfrm>
                <a:off x="4861068" y="-1234912"/>
                <a:ext cx="34590" cy="31437"/>
              </a:xfrm>
              <a:custGeom>
                <a:avLst/>
                <a:gdLst>
                  <a:gd name="connsiteX0" fmla="*/ 3037 w 34590"/>
                  <a:gd name="connsiteY0" fmla="*/ 19783 h 31437"/>
                  <a:gd name="connsiteX1" fmla="*/ 22022 w 34590"/>
                  <a:gd name="connsiteY1" fmla="*/ 31436 h 31437"/>
                  <a:gd name="connsiteX2" fmla="*/ 34068 w 34590"/>
                  <a:gd name="connsiteY2" fmla="*/ 16902 h 31437"/>
                  <a:gd name="connsiteX3" fmla="*/ 25557 w 34590"/>
                  <a:gd name="connsiteY3" fmla="*/ 4988 h 31437"/>
                  <a:gd name="connsiteX4" fmla="*/ 15344 w 34590"/>
                  <a:gd name="connsiteY4" fmla="*/ 536 h 31437"/>
                  <a:gd name="connsiteX5" fmla="*/ 1727 w 34590"/>
                  <a:gd name="connsiteY5" fmla="*/ 5380 h 31437"/>
                  <a:gd name="connsiteX6" fmla="*/ 3037 w 34590"/>
                  <a:gd name="connsiteY6" fmla="*/ 19783 h 31437"/>
                  <a:gd name="connsiteX7" fmla="*/ 3037 w 34590"/>
                  <a:gd name="connsiteY7" fmla="*/ 19783 h 3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590" h="31437">
                    <a:moveTo>
                      <a:pt x="3037" y="19783"/>
                    </a:moveTo>
                    <a:cubicBezTo>
                      <a:pt x="7881" y="26329"/>
                      <a:pt x="13511" y="31305"/>
                      <a:pt x="22022" y="31436"/>
                    </a:cubicBezTo>
                    <a:cubicBezTo>
                      <a:pt x="28961" y="31567"/>
                      <a:pt x="36686" y="24496"/>
                      <a:pt x="34068" y="16902"/>
                    </a:cubicBezTo>
                    <a:cubicBezTo>
                      <a:pt x="32235" y="11665"/>
                      <a:pt x="30140" y="8130"/>
                      <a:pt x="25557" y="4988"/>
                    </a:cubicBezTo>
                    <a:cubicBezTo>
                      <a:pt x="22415" y="2893"/>
                      <a:pt x="18880" y="1714"/>
                      <a:pt x="15344" y="536"/>
                    </a:cubicBezTo>
                    <a:cubicBezTo>
                      <a:pt x="10500" y="-1035"/>
                      <a:pt x="4346" y="929"/>
                      <a:pt x="1727" y="5380"/>
                    </a:cubicBezTo>
                    <a:cubicBezTo>
                      <a:pt x="-1153" y="10225"/>
                      <a:pt x="-237" y="15331"/>
                      <a:pt x="3037" y="19783"/>
                    </a:cubicBezTo>
                    <a:lnTo>
                      <a:pt x="3037" y="1978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íŝľîḓe"/>
              <p:cNvSpPr/>
              <p:nvPr/>
            </p:nvSpPr>
            <p:spPr>
              <a:xfrm>
                <a:off x="4779625" y="-1132338"/>
                <a:ext cx="38842" cy="33176"/>
              </a:xfrm>
              <a:custGeom>
                <a:avLst/>
                <a:gdLst>
                  <a:gd name="connsiteX0" fmla="*/ 7753 w 38842"/>
                  <a:gd name="connsiteY0" fmla="*/ 24573 h 33176"/>
                  <a:gd name="connsiteX1" fmla="*/ 9586 w 38842"/>
                  <a:gd name="connsiteY1" fmla="*/ 25097 h 33176"/>
                  <a:gd name="connsiteX2" fmla="*/ 11681 w 38842"/>
                  <a:gd name="connsiteY2" fmla="*/ 25490 h 33176"/>
                  <a:gd name="connsiteX3" fmla="*/ 12467 w 38842"/>
                  <a:gd name="connsiteY3" fmla="*/ 25621 h 33176"/>
                  <a:gd name="connsiteX4" fmla="*/ 13253 w 38842"/>
                  <a:gd name="connsiteY4" fmla="*/ 26014 h 33176"/>
                  <a:gd name="connsiteX5" fmla="*/ 11681 w 38842"/>
                  <a:gd name="connsiteY5" fmla="*/ 25359 h 33176"/>
                  <a:gd name="connsiteX6" fmla="*/ 11681 w 38842"/>
                  <a:gd name="connsiteY6" fmla="*/ 25228 h 33176"/>
                  <a:gd name="connsiteX7" fmla="*/ 11812 w 38842"/>
                  <a:gd name="connsiteY7" fmla="*/ 25621 h 33176"/>
                  <a:gd name="connsiteX8" fmla="*/ 15479 w 38842"/>
                  <a:gd name="connsiteY8" fmla="*/ 29025 h 33176"/>
                  <a:gd name="connsiteX9" fmla="*/ 14562 w 38842"/>
                  <a:gd name="connsiteY9" fmla="*/ 28370 h 33176"/>
                  <a:gd name="connsiteX10" fmla="*/ 21109 w 38842"/>
                  <a:gd name="connsiteY10" fmla="*/ 32429 h 33176"/>
                  <a:gd name="connsiteX11" fmla="*/ 32893 w 38842"/>
                  <a:gd name="connsiteY11" fmla="*/ 30465 h 33176"/>
                  <a:gd name="connsiteX12" fmla="*/ 38653 w 38842"/>
                  <a:gd name="connsiteY12" fmla="*/ 20122 h 33176"/>
                  <a:gd name="connsiteX13" fmla="*/ 23989 w 38842"/>
                  <a:gd name="connsiteY13" fmla="*/ 1136 h 33176"/>
                  <a:gd name="connsiteX14" fmla="*/ 3564 w 38842"/>
                  <a:gd name="connsiteY14" fmla="*/ 5064 h 33176"/>
                  <a:gd name="connsiteX15" fmla="*/ 7753 w 38842"/>
                  <a:gd name="connsiteY15" fmla="*/ 24573 h 33176"/>
                  <a:gd name="connsiteX16" fmla="*/ 7753 w 38842"/>
                  <a:gd name="connsiteY16" fmla="*/ 24573 h 3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8842" h="33176">
                    <a:moveTo>
                      <a:pt x="7753" y="24573"/>
                    </a:moveTo>
                    <a:cubicBezTo>
                      <a:pt x="8408" y="24704"/>
                      <a:pt x="8932" y="24966"/>
                      <a:pt x="9586" y="25097"/>
                    </a:cubicBezTo>
                    <a:cubicBezTo>
                      <a:pt x="10241" y="25359"/>
                      <a:pt x="10896" y="25490"/>
                      <a:pt x="11681" y="25490"/>
                    </a:cubicBezTo>
                    <a:cubicBezTo>
                      <a:pt x="13645" y="25883"/>
                      <a:pt x="13907" y="25883"/>
                      <a:pt x="12467" y="25621"/>
                    </a:cubicBezTo>
                    <a:cubicBezTo>
                      <a:pt x="10241" y="24311"/>
                      <a:pt x="12991" y="26406"/>
                      <a:pt x="13253" y="26014"/>
                    </a:cubicBezTo>
                    <a:cubicBezTo>
                      <a:pt x="12729" y="25752"/>
                      <a:pt x="12205" y="25490"/>
                      <a:pt x="11681" y="25359"/>
                    </a:cubicBezTo>
                    <a:cubicBezTo>
                      <a:pt x="12598" y="26014"/>
                      <a:pt x="12598" y="26014"/>
                      <a:pt x="11681" y="25228"/>
                    </a:cubicBezTo>
                    <a:cubicBezTo>
                      <a:pt x="11027" y="23919"/>
                      <a:pt x="11289" y="24966"/>
                      <a:pt x="11812" y="25621"/>
                    </a:cubicBezTo>
                    <a:cubicBezTo>
                      <a:pt x="12860" y="26930"/>
                      <a:pt x="14038" y="27978"/>
                      <a:pt x="15479" y="29025"/>
                    </a:cubicBezTo>
                    <a:cubicBezTo>
                      <a:pt x="14955" y="28632"/>
                      <a:pt x="13253" y="27061"/>
                      <a:pt x="14562" y="28370"/>
                    </a:cubicBezTo>
                    <a:cubicBezTo>
                      <a:pt x="16526" y="30465"/>
                      <a:pt x="18621" y="31251"/>
                      <a:pt x="21109" y="32429"/>
                    </a:cubicBezTo>
                    <a:cubicBezTo>
                      <a:pt x="24906" y="34131"/>
                      <a:pt x="29750" y="32691"/>
                      <a:pt x="32893" y="30465"/>
                    </a:cubicBezTo>
                    <a:cubicBezTo>
                      <a:pt x="36559" y="27847"/>
                      <a:pt x="37868" y="24573"/>
                      <a:pt x="38653" y="20122"/>
                    </a:cubicBezTo>
                    <a:cubicBezTo>
                      <a:pt x="40225" y="11218"/>
                      <a:pt x="31714" y="3493"/>
                      <a:pt x="23989" y="1136"/>
                    </a:cubicBezTo>
                    <a:cubicBezTo>
                      <a:pt x="17050" y="-959"/>
                      <a:pt x="8801" y="-435"/>
                      <a:pt x="3564" y="5064"/>
                    </a:cubicBezTo>
                    <a:cubicBezTo>
                      <a:pt x="-2066" y="10825"/>
                      <a:pt x="-1281" y="22348"/>
                      <a:pt x="7753" y="24573"/>
                    </a:cubicBezTo>
                    <a:lnTo>
                      <a:pt x="7753" y="2457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2" name="íṥļïḓé"/>
              <p:cNvSpPr/>
              <p:nvPr/>
            </p:nvSpPr>
            <p:spPr>
              <a:xfrm>
                <a:off x="4581678" y="-1174519"/>
                <a:ext cx="30654" cy="28619"/>
              </a:xfrm>
              <a:custGeom>
                <a:avLst/>
                <a:gdLst>
                  <a:gd name="connsiteX0" fmla="*/ 17681 w 30654"/>
                  <a:gd name="connsiteY0" fmla="*/ 28260 h 28619"/>
                  <a:gd name="connsiteX1" fmla="*/ 26716 w 30654"/>
                  <a:gd name="connsiteY1" fmla="*/ 23808 h 28619"/>
                  <a:gd name="connsiteX2" fmla="*/ 27501 w 30654"/>
                  <a:gd name="connsiteY2" fmla="*/ 5739 h 28619"/>
                  <a:gd name="connsiteX3" fmla="*/ 18729 w 30654"/>
                  <a:gd name="connsiteY3" fmla="*/ 633 h 28619"/>
                  <a:gd name="connsiteX4" fmla="*/ 6 w 30654"/>
                  <a:gd name="connsiteY4" fmla="*/ 13726 h 28619"/>
                  <a:gd name="connsiteX5" fmla="*/ 17681 w 30654"/>
                  <a:gd name="connsiteY5" fmla="*/ 28260 h 28619"/>
                  <a:gd name="connsiteX6" fmla="*/ 17681 w 30654"/>
                  <a:gd name="connsiteY6" fmla="*/ 28260 h 28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654" h="28619">
                    <a:moveTo>
                      <a:pt x="17681" y="28260"/>
                    </a:moveTo>
                    <a:cubicBezTo>
                      <a:pt x="21086" y="27474"/>
                      <a:pt x="24359" y="26427"/>
                      <a:pt x="26716" y="23808"/>
                    </a:cubicBezTo>
                    <a:cubicBezTo>
                      <a:pt x="31691" y="18440"/>
                      <a:pt x="31953" y="11500"/>
                      <a:pt x="27501" y="5739"/>
                    </a:cubicBezTo>
                    <a:cubicBezTo>
                      <a:pt x="25276" y="2859"/>
                      <a:pt x="22133" y="1680"/>
                      <a:pt x="18729" y="633"/>
                    </a:cubicBezTo>
                    <a:cubicBezTo>
                      <a:pt x="9826" y="-2117"/>
                      <a:pt x="398" y="4430"/>
                      <a:pt x="6" y="13726"/>
                    </a:cubicBezTo>
                    <a:cubicBezTo>
                      <a:pt x="-256" y="23022"/>
                      <a:pt x="8647" y="30355"/>
                      <a:pt x="17681" y="28260"/>
                    </a:cubicBezTo>
                    <a:lnTo>
                      <a:pt x="17681" y="28260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íṥḷiďé"/>
              <p:cNvSpPr/>
              <p:nvPr/>
            </p:nvSpPr>
            <p:spPr>
              <a:xfrm>
                <a:off x="5030138" y="-1092892"/>
                <a:ext cx="47889" cy="34648"/>
              </a:xfrm>
              <a:custGeom>
                <a:avLst/>
                <a:gdLst>
                  <a:gd name="connsiteX0" fmla="*/ 3394 w 47889"/>
                  <a:gd name="connsiteY0" fmla="*/ 22182 h 34648"/>
                  <a:gd name="connsiteX1" fmla="*/ 20284 w 47889"/>
                  <a:gd name="connsiteY1" fmla="*/ 31871 h 34648"/>
                  <a:gd name="connsiteX2" fmla="*/ 41102 w 47889"/>
                  <a:gd name="connsiteY2" fmla="*/ 32394 h 34648"/>
                  <a:gd name="connsiteX3" fmla="*/ 46602 w 47889"/>
                  <a:gd name="connsiteY3" fmla="*/ 14587 h 34648"/>
                  <a:gd name="connsiteX4" fmla="*/ 30497 w 47889"/>
                  <a:gd name="connsiteY4" fmla="*/ 2934 h 34648"/>
                  <a:gd name="connsiteX5" fmla="*/ 13606 w 47889"/>
                  <a:gd name="connsiteY5" fmla="*/ 54 h 34648"/>
                  <a:gd name="connsiteX6" fmla="*/ 1299 w 47889"/>
                  <a:gd name="connsiteY6" fmla="*/ 7648 h 34648"/>
                  <a:gd name="connsiteX7" fmla="*/ 3394 w 47889"/>
                  <a:gd name="connsiteY7" fmla="*/ 22182 h 34648"/>
                  <a:gd name="connsiteX8" fmla="*/ 3394 w 47889"/>
                  <a:gd name="connsiteY8" fmla="*/ 22182 h 34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889" h="34648">
                    <a:moveTo>
                      <a:pt x="3394" y="22182"/>
                    </a:moveTo>
                    <a:cubicBezTo>
                      <a:pt x="8107" y="26502"/>
                      <a:pt x="14261" y="29514"/>
                      <a:pt x="20284" y="31871"/>
                    </a:cubicBezTo>
                    <a:cubicBezTo>
                      <a:pt x="27223" y="34620"/>
                      <a:pt x="34294" y="36191"/>
                      <a:pt x="41102" y="32394"/>
                    </a:cubicBezTo>
                    <a:cubicBezTo>
                      <a:pt x="47780" y="28728"/>
                      <a:pt x="49351" y="21265"/>
                      <a:pt x="46602" y="14587"/>
                    </a:cubicBezTo>
                    <a:cubicBezTo>
                      <a:pt x="43721" y="7910"/>
                      <a:pt x="37043" y="4898"/>
                      <a:pt x="30497" y="2934"/>
                    </a:cubicBezTo>
                    <a:cubicBezTo>
                      <a:pt x="25390" y="1494"/>
                      <a:pt x="18844" y="-339"/>
                      <a:pt x="13606" y="54"/>
                    </a:cubicBezTo>
                    <a:cubicBezTo>
                      <a:pt x="8238" y="447"/>
                      <a:pt x="3525" y="2542"/>
                      <a:pt x="1299" y="7648"/>
                    </a:cubicBezTo>
                    <a:cubicBezTo>
                      <a:pt x="-796" y="12231"/>
                      <a:pt x="-534" y="18646"/>
                      <a:pt x="3394" y="22182"/>
                    </a:cubicBezTo>
                    <a:lnTo>
                      <a:pt x="3394" y="22182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íṩľïḍe"/>
              <p:cNvSpPr/>
              <p:nvPr/>
            </p:nvSpPr>
            <p:spPr>
              <a:xfrm>
                <a:off x="4895877" y="-1306871"/>
                <a:ext cx="30044" cy="29460"/>
              </a:xfrm>
              <a:custGeom>
                <a:avLst/>
                <a:gdLst>
                  <a:gd name="connsiteX0" fmla="*/ 1877 w 30044"/>
                  <a:gd name="connsiteY0" fmla="*/ 20646 h 29460"/>
                  <a:gd name="connsiteX1" fmla="*/ 2270 w 30044"/>
                  <a:gd name="connsiteY1" fmla="*/ 21693 h 29460"/>
                  <a:gd name="connsiteX2" fmla="*/ 30028 w 30044"/>
                  <a:gd name="connsiteY2" fmla="*/ 15408 h 29460"/>
                  <a:gd name="connsiteX3" fmla="*/ 2925 w 30044"/>
                  <a:gd name="connsiteY3" fmla="*/ 6898 h 29460"/>
                  <a:gd name="connsiteX4" fmla="*/ 2139 w 30044"/>
                  <a:gd name="connsiteY4" fmla="*/ 7814 h 29460"/>
                  <a:gd name="connsiteX5" fmla="*/ 1616 w 30044"/>
                  <a:gd name="connsiteY5" fmla="*/ 20777 h 29460"/>
                  <a:gd name="connsiteX6" fmla="*/ 2270 w 30044"/>
                  <a:gd name="connsiteY6" fmla="*/ 21693 h 29460"/>
                  <a:gd name="connsiteX7" fmla="*/ 30028 w 30044"/>
                  <a:gd name="connsiteY7" fmla="*/ 15408 h 29460"/>
                  <a:gd name="connsiteX8" fmla="*/ 2925 w 30044"/>
                  <a:gd name="connsiteY8" fmla="*/ 6898 h 29460"/>
                  <a:gd name="connsiteX9" fmla="*/ 1877 w 30044"/>
                  <a:gd name="connsiteY9" fmla="*/ 20646 h 29460"/>
                  <a:gd name="connsiteX10" fmla="*/ 1877 w 30044"/>
                  <a:gd name="connsiteY10" fmla="*/ 20646 h 29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044" h="29460">
                    <a:moveTo>
                      <a:pt x="1877" y="20646"/>
                    </a:moveTo>
                    <a:cubicBezTo>
                      <a:pt x="2008" y="21039"/>
                      <a:pt x="2139" y="21300"/>
                      <a:pt x="2270" y="21693"/>
                    </a:cubicBezTo>
                    <a:cubicBezTo>
                      <a:pt x="7900" y="35703"/>
                      <a:pt x="29373" y="29025"/>
                      <a:pt x="30028" y="15408"/>
                    </a:cubicBezTo>
                    <a:cubicBezTo>
                      <a:pt x="30683" y="-434"/>
                      <a:pt x="11697" y="-3708"/>
                      <a:pt x="2925" y="6898"/>
                    </a:cubicBezTo>
                    <a:cubicBezTo>
                      <a:pt x="2663" y="7160"/>
                      <a:pt x="2401" y="7552"/>
                      <a:pt x="2139" y="7814"/>
                    </a:cubicBezTo>
                    <a:cubicBezTo>
                      <a:pt x="-479" y="10957"/>
                      <a:pt x="-741" y="17503"/>
                      <a:pt x="1616" y="20777"/>
                    </a:cubicBezTo>
                    <a:cubicBezTo>
                      <a:pt x="1877" y="21039"/>
                      <a:pt x="2008" y="21431"/>
                      <a:pt x="2270" y="21693"/>
                    </a:cubicBezTo>
                    <a:cubicBezTo>
                      <a:pt x="10126" y="32953"/>
                      <a:pt x="29373" y="31120"/>
                      <a:pt x="30028" y="15408"/>
                    </a:cubicBezTo>
                    <a:cubicBezTo>
                      <a:pt x="30552" y="1791"/>
                      <a:pt x="9733" y="-6719"/>
                      <a:pt x="2925" y="6898"/>
                    </a:cubicBezTo>
                    <a:cubicBezTo>
                      <a:pt x="437" y="11873"/>
                      <a:pt x="-217" y="15408"/>
                      <a:pt x="1877" y="20646"/>
                    </a:cubicBezTo>
                    <a:lnTo>
                      <a:pt x="1877" y="20646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iśḷíďe"/>
              <p:cNvSpPr/>
              <p:nvPr/>
            </p:nvSpPr>
            <p:spPr>
              <a:xfrm>
                <a:off x="4025047" y="-1493116"/>
                <a:ext cx="44916" cy="35507"/>
              </a:xfrm>
              <a:custGeom>
                <a:avLst/>
                <a:gdLst>
                  <a:gd name="connsiteX0" fmla="*/ 41418 w 44916"/>
                  <a:gd name="connsiteY0" fmla="*/ 13241 h 35507"/>
                  <a:gd name="connsiteX1" fmla="*/ 11435 w 44916"/>
                  <a:gd name="connsiteY1" fmla="*/ 410 h 35507"/>
                  <a:gd name="connsiteX2" fmla="*/ 1746 w 44916"/>
                  <a:gd name="connsiteY2" fmla="*/ 21621 h 35507"/>
                  <a:gd name="connsiteX3" fmla="*/ 31074 w 44916"/>
                  <a:gd name="connsiteY3" fmla="*/ 35500 h 35507"/>
                  <a:gd name="connsiteX4" fmla="*/ 41418 w 44916"/>
                  <a:gd name="connsiteY4" fmla="*/ 13241 h 35507"/>
                  <a:gd name="connsiteX5" fmla="*/ 41418 w 44916"/>
                  <a:gd name="connsiteY5" fmla="*/ 13241 h 35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916" h="35507">
                    <a:moveTo>
                      <a:pt x="41418" y="13241"/>
                    </a:moveTo>
                    <a:cubicBezTo>
                      <a:pt x="33955" y="5385"/>
                      <a:pt x="22695" y="-1816"/>
                      <a:pt x="11435" y="410"/>
                    </a:cubicBezTo>
                    <a:cubicBezTo>
                      <a:pt x="2400" y="2112"/>
                      <a:pt x="-2968" y="13634"/>
                      <a:pt x="1746" y="21621"/>
                    </a:cubicBezTo>
                    <a:cubicBezTo>
                      <a:pt x="7638" y="31441"/>
                      <a:pt x="20207" y="35238"/>
                      <a:pt x="31074" y="35500"/>
                    </a:cubicBezTo>
                    <a:cubicBezTo>
                      <a:pt x="42466" y="35893"/>
                      <a:pt x="49536" y="21752"/>
                      <a:pt x="41418" y="13241"/>
                    </a:cubicBezTo>
                    <a:lnTo>
                      <a:pt x="41418" y="13241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íṣ1íḑê"/>
              <p:cNvSpPr/>
              <p:nvPr/>
            </p:nvSpPr>
            <p:spPr>
              <a:xfrm>
                <a:off x="4159550" y="-1372037"/>
                <a:ext cx="45448" cy="26816"/>
              </a:xfrm>
              <a:custGeom>
                <a:avLst/>
                <a:gdLst>
                  <a:gd name="connsiteX0" fmla="*/ 39681 w 45448"/>
                  <a:gd name="connsiteY0" fmla="*/ 6073 h 26816"/>
                  <a:gd name="connsiteX1" fmla="*/ 13756 w 45448"/>
                  <a:gd name="connsiteY1" fmla="*/ 50 h 26816"/>
                  <a:gd name="connsiteX2" fmla="*/ 8 w 45448"/>
                  <a:gd name="connsiteY2" fmla="*/ 12751 h 26816"/>
                  <a:gd name="connsiteX3" fmla="*/ 12709 w 45448"/>
                  <a:gd name="connsiteY3" fmla="*/ 26499 h 26816"/>
                  <a:gd name="connsiteX4" fmla="*/ 39026 w 45448"/>
                  <a:gd name="connsiteY4" fmla="*/ 22571 h 26816"/>
                  <a:gd name="connsiteX5" fmla="*/ 39681 w 45448"/>
                  <a:gd name="connsiteY5" fmla="*/ 6073 h 26816"/>
                  <a:gd name="connsiteX6" fmla="*/ 39681 w 45448"/>
                  <a:gd name="connsiteY6" fmla="*/ 6073 h 26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448" h="26816">
                    <a:moveTo>
                      <a:pt x="39681" y="6073"/>
                    </a:moveTo>
                    <a:cubicBezTo>
                      <a:pt x="31563" y="3193"/>
                      <a:pt x="22398" y="-473"/>
                      <a:pt x="13756" y="50"/>
                    </a:cubicBezTo>
                    <a:cubicBezTo>
                      <a:pt x="6686" y="574"/>
                      <a:pt x="401" y="5026"/>
                      <a:pt x="8" y="12751"/>
                    </a:cubicBezTo>
                    <a:cubicBezTo>
                      <a:pt x="-253" y="20476"/>
                      <a:pt x="5639" y="25451"/>
                      <a:pt x="12709" y="26499"/>
                    </a:cubicBezTo>
                    <a:cubicBezTo>
                      <a:pt x="21350" y="27808"/>
                      <a:pt x="30777" y="24797"/>
                      <a:pt x="39026" y="22571"/>
                    </a:cubicBezTo>
                    <a:cubicBezTo>
                      <a:pt x="47275" y="20476"/>
                      <a:pt x="47668" y="8954"/>
                      <a:pt x="39681" y="6073"/>
                    </a:cubicBezTo>
                    <a:lnTo>
                      <a:pt x="39681" y="607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ïślîḓe"/>
              <p:cNvSpPr/>
              <p:nvPr/>
            </p:nvSpPr>
            <p:spPr>
              <a:xfrm>
                <a:off x="4186259" y="-1603795"/>
                <a:ext cx="29213" cy="35870"/>
              </a:xfrm>
              <a:custGeom>
                <a:avLst/>
                <a:gdLst>
                  <a:gd name="connsiteX0" fmla="*/ 28684 w 29213"/>
                  <a:gd name="connsiteY0" fmla="*/ 30959 h 35870"/>
                  <a:gd name="connsiteX1" fmla="*/ 26851 w 29213"/>
                  <a:gd name="connsiteY1" fmla="*/ 10664 h 35870"/>
                  <a:gd name="connsiteX2" fmla="*/ 10484 w 29213"/>
                  <a:gd name="connsiteY2" fmla="*/ 452 h 35870"/>
                  <a:gd name="connsiteX3" fmla="*/ 4331 w 29213"/>
                  <a:gd name="connsiteY3" fmla="*/ 3725 h 35870"/>
                  <a:gd name="connsiteX4" fmla="*/ 3545 w 29213"/>
                  <a:gd name="connsiteY4" fmla="*/ 22972 h 35870"/>
                  <a:gd name="connsiteX5" fmla="*/ 19781 w 29213"/>
                  <a:gd name="connsiteY5" fmla="*/ 35541 h 35870"/>
                  <a:gd name="connsiteX6" fmla="*/ 28684 w 29213"/>
                  <a:gd name="connsiteY6" fmla="*/ 30959 h 35870"/>
                  <a:gd name="connsiteX7" fmla="*/ 28684 w 29213"/>
                  <a:gd name="connsiteY7" fmla="*/ 30959 h 35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213" h="35870">
                    <a:moveTo>
                      <a:pt x="28684" y="30959"/>
                    </a:moveTo>
                    <a:cubicBezTo>
                      <a:pt x="29993" y="24281"/>
                      <a:pt x="28684" y="17211"/>
                      <a:pt x="26851" y="10664"/>
                    </a:cubicBezTo>
                    <a:cubicBezTo>
                      <a:pt x="24887" y="3856"/>
                      <a:pt x="17817" y="-1643"/>
                      <a:pt x="10484" y="452"/>
                    </a:cubicBezTo>
                    <a:cubicBezTo>
                      <a:pt x="7997" y="1106"/>
                      <a:pt x="6295" y="2023"/>
                      <a:pt x="4331" y="3725"/>
                    </a:cubicBezTo>
                    <a:cubicBezTo>
                      <a:pt x="-1169" y="8700"/>
                      <a:pt x="-1430" y="17604"/>
                      <a:pt x="3545" y="22972"/>
                    </a:cubicBezTo>
                    <a:cubicBezTo>
                      <a:pt x="8128" y="27947"/>
                      <a:pt x="13365" y="33185"/>
                      <a:pt x="19781" y="35541"/>
                    </a:cubicBezTo>
                    <a:cubicBezTo>
                      <a:pt x="23054" y="36720"/>
                      <a:pt x="27898" y="34625"/>
                      <a:pt x="28684" y="30959"/>
                    </a:cubicBezTo>
                    <a:lnTo>
                      <a:pt x="28684" y="3095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išḻídé"/>
              <p:cNvSpPr/>
              <p:nvPr/>
            </p:nvSpPr>
            <p:spPr>
              <a:xfrm>
                <a:off x="4343279" y="-1617663"/>
                <a:ext cx="32868" cy="34050"/>
              </a:xfrm>
              <a:custGeom>
                <a:avLst/>
                <a:gdLst>
                  <a:gd name="connsiteX0" fmla="*/ 32579 w 32868"/>
                  <a:gd name="connsiteY0" fmla="*/ 24663 h 34050"/>
                  <a:gd name="connsiteX1" fmla="*/ 31270 w 32868"/>
                  <a:gd name="connsiteY1" fmla="*/ 17331 h 34050"/>
                  <a:gd name="connsiteX2" fmla="*/ 27865 w 32868"/>
                  <a:gd name="connsiteY2" fmla="*/ 7773 h 34050"/>
                  <a:gd name="connsiteX3" fmla="*/ 4690 w 32868"/>
                  <a:gd name="connsiteY3" fmla="*/ 3845 h 34050"/>
                  <a:gd name="connsiteX4" fmla="*/ 6785 w 32868"/>
                  <a:gd name="connsiteY4" fmla="*/ 27282 h 34050"/>
                  <a:gd name="connsiteX5" fmla="*/ 15951 w 32868"/>
                  <a:gd name="connsiteY5" fmla="*/ 31603 h 34050"/>
                  <a:gd name="connsiteX6" fmla="*/ 23021 w 32868"/>
                  <a:gd name="connsiteY6" fmla="*/ 33567 h 34050"/>
                  <a:gd name="connsiteX7" fmla="*/ 32579 w 32868"/>
                  <a:gd name="connsiteY7" fmla="*/ 24663 h 34050"/>
                  <a:gd name="connsiteX8" fmla="*/ 32579 w 32868"/>
                  <a:gd name="connsiteY8" fmla="*/ 24663 h 34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868" h="34050">
                    <a:moveTo>
                      <a:pt x="32579" y="24663"/>
                    </a:moveTo>
                    <a:cubicBezTo>
                      <a:pt x="31793" y="22176"/>
                      <a:pt x="31793" y="19819"/>
                      <a:pt x="31270" y="17331"/>
                    </a:cubicBezTo>
                    <a:cubicBezTo>
                      <a:pt x="30615" y="14189"/>
                      <a:pt x="29175" y="10654"/>
                      <a:pt x="27865" y="7773"/>
                    </a:cubicBezTo>
                    <a:cubicBezTo>
                      <a:pt x="23938" y="-1130"/>
                      <a:pt x="11368" y="-2309"/>
                      <a:pt x="4690" y="3845"/>
                    </a:cubicBezTo>
                    <a:cubicBezTo>
                      <a:pt x="-2118" y="10130"/>
                      <a:pt x="-1594" y="22437"/>
                      <a:pt x="6785" y="27282"/>
                    </a:cubicBezTo>
                    <a:cubicBezTo>
                      <a:pt x="9535" y="28853"/>
                      <a:pt x="12939" y="30555"/>
                      <a:pt x="15951" y="31603"/>
                    </a:cubicBezTo>
                    <a:cubicBezTo>
                      <a:pt x="18307" y="32388"/>
                      <a:pt x="20664" y="32650"/>
                      <a:pt x="23021" y="33567"/>
                    </a:cubicBezTo>
                    <a:cubicBezTo>
                      <a:pt x="28127" y="35793"/>
                      <a:pt x="34281" y="29901"/>
                      <a:pt x="32579" y="24663"/>
                    </a:cubicBezTo>
                    <a:lnTo>
                      <a:pt x="32579" y="2466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iślíḋè"/>
              <p:cNvSpPr/>
              <p:nvPr/>
            </p:nvSpPr>
            <p:spPr>
              <a:xfrm>
                <a:off x="4563867" y="-1582346"/>
                <a:ext cx="40648" cy="35704"/>
              </a:xfrm>
              <a:custGeom>
                <a:avLst/>
                <a:gdLst>
                  <a:gd name="connsiteX0" fmla="*/ 39682 w 40648"/>
                  <a:gd name="connsiteY0" fmla="*/ 25745 h 35704"/>
                  <a:gd name="connsiteX1" fmla="*/ 32088 w 40648"/>
                  <a:gd name="connsiteY1" fmla="*/ 11736 h 35704"/>
                  <a:gd name="connsiteX2" fmla="*/ 9699 w 40648"/>
                  <a:gd name="connsiteY2" fmla="*/ 476 h 35704"/>
                  <a:gd name="connsiteX3" fmla="*/ 10 w 40648"/>
                  <a:gd name="connsiteY3" fmla="*/ 12129 h 35704"/>
                  <a:gd name="connsiteX4" fmla="*/ 4069 w 40648"/>
                  <a:gd name="connsiteY4" fmla="*/ 24829 h 35704"/>
                  <a:gd name="connsiteX5" fmla="*/ 16638 w 40648"/>
                  <a:gd name="connsiteY5" fmla="*/ 31637 h 35704"/>
                  <a:gd name="connsiteX6" fmla="*/ 31565 w 40648"/>
                  <a:gd name="connsiteY6" fmla="*/ 35304 h 35704"/>
                  <a:gd name="connsiteX7" fmla="*/ 39682 w 40648"/>
                  <a:gd name="connsiteY7" fmla="*/ 25745 h 35704"/>
                  <a:gd name="connsiteX8" fmla="*/ 39682 w 40648"/>
                  <a:gd name="connsiteY8" fmla="*/ 25745 h 35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648" h="35704">
                    <a:moveTo>
                      <a:pt x="39682" y="25745"/>
                    </a:moveTo>
                    <a:cubicBezTo>
                      <a:pt x="36409" y="20901"/>
                      <a:pt x="34052" y="16057"/>
                      <a:pt x="32088" y="11736"/>
                    </a:cubicBezTo>
                    <a:cubicBezTo>
                      <a:pt x="27899" y="2701"/>
                      <a:pt x="19257" y="-1488"/>
                      <a:pt x="9699" y="476"/>
                    </a:cubicBezTo>
                    <a:cubicBezTo>
                      <a:pt x="4723" y="1523"/>
                      <a:pt x="-252" y="6891"/>
                      <a:pt x="10" y="12129"/>
                    </a:cubicBezTo>
                    <a:cubicBezTo>
                      <a:pt x="272" y="16973"/>
                      <a:pt x="926" y="21032"/>
                      <a:pt x="4069" y="24829"/>
                    </a:cubicBezTo>
                    <a:cubicBezTo>
                      <a:pt x="7211" y="28626"/>
                      <a:pt x="11794" y="30852"/>
                      <a:pt x="16638" y="31637"/>
                    </a:cubicBezTo>
                    <a:cubicBezTo>
                      <a:pt x="20959" y="32423"/>
                      <a:pt x="26196" y="33471"/>
                      <a:pt x="31565" y="35304"/>
                    </a:cubicBezTo>
                    <a:cubicBezTo>
                      <a:pt x="36802" y="37398"/>
                      <a:pt x="43087" y="30852"/>
                      <a:pt x="39682" y="25745"/>
                    </a:cubicBezTo>
                    <a:lnTo>
                      <a:pt x="39682" y="25745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íślíḍè"/>
              <p:cNvSpPr/>
              <p:nvPr/>
            </p:nvSpPr>
            <p:spPr>
              <a:xfrm>
                <a:off x="4471213" y="-1646163"/>
                <a:ext cx="31510" cy="33097"/>
              </a:xfrm>
              <a:custGeom>
                <a:avLst/>
                <a:gdLst>
                  <a:gd name="connsiteX0" fmla="*/ 30864 w 31510"/>
                  <a:gd name="connsiteY0" fmla="*/ 14407 h 33097"/>
                  <a:gd name="connsiteX1" fmla="*/ 25365 w 31510"/>
                  <a:gd name="connsiteY1" fmla="*/ 4718 h 33097"/>
                  <a:gd name="connsiteX2" fmla="*/ 7689 w 31510"/>
                  <a:gd name="connsiteY2" fmla="*/ 1706 h 33097"/>
                  <a:gd name="connsiteX3" fmla="*/ 226 w 31510"/>
                  <a:gd name="connsiteY3" fmla="*/ 18073 h 33097"/>
                  <a:gd name="connsiteX4" fmla="*/ 2582 w 31510"/>
                  <a:gd name="connsiteY4" fmla="*/ 25143 h 33097"/>
                  <a:gd name="connsiteX5" fmla="*/ 21306 w 31510"/>
                  <a:gd name="connsiteY5" fmla="*/ 32083 h 33097"/>
                  <a:gd name="connsiteX6" fmla="*/ 30864 w 31510"/>
                  <a:gd name="connsiteY6" fmla="*/ 14407 h 33097"/>
                  <a:gd name="connsiteX7" fmla="*/ 30864 w 31510"/>
                  <a:gd name="connsiteY7" fmla="*/ 14407 h 33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510" h="33097">
                    <a:moveTo>
                      <a:pt x="30864" y="14407"/>
                    </a:moveTo>
                    <a:cubicBezTo>
                      <a:pt x="29554" y="10610"/>
                      <a:pt x="27852" y="7729"/>
                      <a:pt x="25365" y="4718"/>
                    </a:cubicBezTo>
                    <a:cubicBezTo>
                      <a:pt x="21306" y="-127"/>
                      <a:pt x="13057" y="-1436"/>
                      <a:pt x="7689" y="1706"/>
                    </a:cubicBezTo>
                    <a:cubicBezTo>
                      <a:pt x="1797" y="5241"/>
                      <a:pt x="-822" y="11395"/>
                      <a:pt x="226" y="18073"/>
                    </a:cubicBezTo>
                    <a:cubicBezTo>
                      <a:pt x="618" y="20561"/>
                      <a:pt x="1273" y="22917"/>
                      <a:pt x="2582" y="25143"/>
                    </a:cubicBezTo>
                    <a:cubicBezTo>
                      <a:pt x="6379" y="31821"/>
                      <a:pt x="14235" y="34832"/>
                      <a:pt x="21306" y="32083"/>
                    </a:cubicBezTo>
                    <a:cubicBezTo>
                      <a:pt x="27721" y="29595"/>
                      <a:pt x="33482" y="21608"/>
                      <a:pt x="30864" y="14407"/>
                    </a:cubicBezTo>
                    <a:lnTo>
                      <a:pt x="30864" y="14407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íşḷíḑe"/>
              <p:cNvSpPr/>
              <p:nvPr/>
            </p:nvSpPr>
            <p:spPr>
              <a:xfrm>
                <a:off x="4903170" y="-1161399"/>
                <a:ext cx="26705" cy="27917"/>
              </a:xfrm>
              <a:custGeom>
                <a:avLst/>
                <a:gdLst>
                  <a:gd name="connsiteX0" fmla="*/ 15403 w 26705"/>
                  <a:gd name="connsiteY0" fmla="*/ 26924 h 27917"/>
                  <a:gd name="connsiteX1" fmla="*/ 17498 w 26705"/>
                  <a:gd name="connsiteY1" fmla="*/ 26138 h 27917"/>
                  <a:gd name="connsiteX2" fmla="*/ 18414 w 26705"/>
                  <a:gd name="connsiteY2" fmla="*/ 2309 h 27917"/>
                  <a:gd name="connsiteX3" fmla="*/ 16450 w 26705"/>
                  <a:gd name="connsiteY3" fmla="*/ 1392 h 27917"/>
                  <a:gd name="connsiteX4" fmla="*/ 15403 w 26705"/>
                  <a:gd name="connsiteY4" fmla="*/ 26924 h 27917"/>
                  <a:gd name="connsiteX5" fmla="*/ 15403 w 26705"/>
                  <a:gd name="connsiteY5" fmla="*/ 26924 h 27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705" h="27917">
                    <a:moveTo>
                      <a:pt x="15403" y="26924"/>
                    </a:moveTo>
                    <a:cubicBezTo>
                      <a:pt x="16057" y="26662"/>
                      <a:pt x="16843" y="26400"/>
                      <a:pt x="17498" y="26138"/>
                    </a:cubicBezTo>
                    <a:cubicBezTo>
                      <a:pt x="29282" y="21818"/>
                      <a:pt x="29936" y="7677"/>
                      <a:pt x="18414" y="2309"/>
                    </a:cubicBezTo>
                    <a:cubicBezTo>
                      <a:pt x="17760" y="2047"/>
                      <a:pt x="17105" y="1654"/>
                      <a:pt x="16450" y="1392"/>
                    </a:cubicBezTo>
                    <a:cubicBezTo>
                      <a:pt x="-4368" y="-8166"/>
                      <a:pt x="-6201" y="34911"/>
                      <a:pt x="15403" y="26924"/>
                    </a:cubicBezTo>
                    <a:lnTo>
                      <a:pt x="15403" y="26924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íšḻiḋé"/>
              <p:cNvSpPr/>
              <p:nvPr/>
            </p:nvSpPr>
            <p:spPr>
              <a:xfrm>
                <a:off x="4695193" y="-1122872"/>
                <a:ext cx="25594" cy="36220"/>
              </a:xfrm>
              <a:custGeom>
                <a:avLst/>
                <a:gdLst>
                  <a:gd name="connsiteX0" fmla="*/ 9 w 25594"/>
                  <a:gd name="connsiteY0" fmla="*/ 10786 h 36220"/>
                  <a:gd name="connsiteX1" fmla="*/ 5378 w 25594"/>
                  <a:gd name="connsiteY1" fmla="*/ 32652 h 36220"/>
                  <a:gd name="connsiteX2" fmla="*/ 14805 w 25594"/>
                  <a:gd name="connsiteY2" fmla="*/ 36187 h 36220"/>
                  <a:gd name="connsiteX3" fmla="*/ 23315 w 25594"/>
                  <a:gd name="connsiteY3" fmla="*/ 31081 h 36220"/>
                  <a:gd name="connsiteX4" fmla="*/ 25017 w 25594"/>
                  <a:gd name="connsiteY4" fmla="*/ 17071 h 36220"/>
                  <a:gd name="connsiteX5" fmla="*/ 22137 w 25594"/>
                  <a:gd name="connsiteY5" fmla="*/ 8560 h 36220"/>
                  <a:gd name="connsiteX6" fmla="*/ 10222 w 25594"/>
                  <a:gd name="connsiteY6" fmla="*/ 50 h 36220"/>
                  <a:gd name="connsiteX7" fmla="*/ 9 w 25594"/>
                  <a:gd name="connsiteY7" fmla="*/ 10786 h 36220"/>
                  <a:gd name="connsiteX8" fmla="*/ 9 w 25594"/>
                  <a:gd name="connsiteY8" fmla="*/ 10786 h 36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594" h="36220">
                    <a:moveTo>
                      <a:pt x="9" y="10786"/>
                    </a:moveTo>
                    <a:cubicBezTo>
                      <a:pt x="271" y="17987"/>
                      <a:pt x="-514" y="27415"/>
                      <a:pt x="5378" y="32652"/>
                    </a:cubicBezTo>
                    <a:cubicBezTo>
                      <a:pt x="8127" y="35140"/>
                      <a:pt x="11008" y="36449"/>
                      <a:pt x="14805" y="36187"/>
                    </a:cubicBezTo>
                    <a:cubicBezTo>
                      <a:pt x="18078" y="35925"/>
                      <a:pt x="21744" y="34223"/>
                      <a:pt x="23315" y="31081"/>
                    </a:cubicBezTo>
                    <a:cubicBezTo>
                      <a:pt x="25541" y="26629"/>
                      <a:pt x="26196" y="22046"/>
                      <a:pt x="25017" y="17071"/>
                    </a:cubicBezTo>
                    <a:cubicBezTo>
                      <a:pt x="24363" y="14190"/>
                      <a:pt x="23053" y="11441"/>
                      <a:pt x="22137" y="8560"/>
                    </a:cubicBezTo>
                    <a:cubicBezTo>
                      <a:pt x="20304" y="3192"/>
                      <a:pt x="16114" y="-474"/>
                      <a:pt x="10222" y="50"/>
                    </a:cubicBezTo>
                    <a:cubicBezTo>
                      <a:pt x="4985" y="704"/>
                      <a:pt x="-252" y="5287"/>
                      <a:pt x="9" y="10786"/>
                    </a:cubicBezTo>
                    <a:lnTo>
                      <a:pt x="9" y="10786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5" name="图形 7"/>
            <p:cNvGrpSpPr/>
            <p:nvPr/>
          </p:nvGrpSpPr>
          <p:grpSpPr>
            <a:xfrm>
              <a:off x="6850436" y="-1726160"/>
              <a:ext cx="728809" cy="407062"/>
              <a:chOff x="6850436" y="-1726160"/>
              <a:chExt cx="728809" cy="407062"/>
            </a:xfrm>
            <a:solidFill>
              <a:srgbClr val="FFFFFF"/>
            </a:solidFill>
          </p:grpSpPr>
          <p:sp>
            <p:nvSpPr>
              <p:cNvPr id="65" name="íŝļíḓé"/>
              <p:cNvSpPr/>
              <p:nvPr/>
            </p:nvSpPr>
            <p:spPr>
              <a:xfrm>
                <a:off x="7223851" y="-1515226"/>
                <a:ext cx="39001" cy="21397"/>
              </a:xfrm>
              <a:custGeom>
                <a:avLst/>
                <a:gdLst>
                  <a:gd name="connsiteX0" fmla="*/ 8165 w 39001"/>
                  <a:gd name="connsiteY0" fmla="*/ 20949 h 21397"/>
                  <a:gd name="connsiteX1" fmla="*/ 19164 w 39001"/>
                  <a:gd name="connsiteY1" fmla="*/ 21342 h 21397"/>
                  <a:gd name="connsiteX2" fmla="*/ 31340 w 39001"/>
                  <a:gd name="connsiteY2" fmla="*/ 20426 h 21397"/>
                  <a:gd name="connsiteX3" fmla="*/ 29376 w 39001"/>
                  <a:gd name="connsiteY3" fmla="*/ 131 h 21397"/>
                  <a:gd name="connsiteX4" fmla="*/ 17200 w 39001"/>
                  <a:gd name="connsiteY4" fmla="*/ 1310 h 21397"/>
                  <a:gd name="connsiteX5" fmla="*/ 6463 w 39001"/>
                  <a:gd name="connsiteY5" fmla="*/ 3535 h 21397"/>
                  <a:gd name="connsiteX6" fmla="*/ 8165 w 39001"/>
                  <a:gd name="connsiteY6" fmla="*/ 20949 h 21397"/>
                  <a:gd name="connsiteX7" fmla="*/ 8165 w 39001"/>
                  <a:gd name="connsiteY7" fmla="*/ 20949 h 21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001" h="21397">
                    <a:moveTo>
                      <a:pt x="8165" y="20949"/>
                    </a:moveTo>
                    <a:cubicBezTo>
                      <a:pt x="11832" y="21342"/>
                      <a:pt x="15498" y="21473"/>
                      <a:pt x="19164" y="21342"/>
                    </a:cubicBezTo>
                    <a:cubicBezTo>
                      <a:pt x="23223" y="21342"/>
                      <a:pt x="27544" y="21735"/>
                      <a:pt x="31340" y="20426"/>
                    </a:cubicBezTo>
                    <a:cubicBezTo>
                      <a:pt x="42601" y="16760"/>
                      <a:pt x="41030" y="1702"/>
                      <a:pt x="29376" y="131"/>
                    </a:cubicBezTo>
                    <a:cubicBezTo>
                      <a:pt x="25449" y="-393"/>
                      <a:pt x="21128" y="786"/>
                      <a:pt x="17200" y="1310"/>
                    </a:cubicBezTo>
                    <a:cubicBezTo>
                      <a:pt x="13534" y="1833"/>
                      <a:pt x="9998" y="2488"/>
                      <a:pt x="6463" y="3535"/>
                    </a:cubicBezTo>
                    <a:cubicBezTo>
                      <a:pt x="-3095" y="6547"/>
                      <a:pt x="-1654" y="19771"/>
                      <a:pt x="8165" y="20949"/>
                    </a:cubicBezTo>
                    <a:lnTo>
                      <a:pt x="8165" y="2094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išlidé"/>
              <p:cNvSpPr/>
              <p:nvPr/>
            </p:nvSpPr>
            <p:spPr>
              <a:xfrm>
                <a:off x="7308381" y="-1460181"/>
                <a:ext cx="28545" cy="21576"/>
              </a:xfrm>
              <a:custGeom>
                <a:avLst/>
                <a:gdLst>
                  <a:gd name="connsiteX0" fmla="*/ 3897 w 28545"/>
                  <a:gd name="connsiteY0" fmla="*/ 16313 h 21576"/>
                  <a:gd name="connsiteX1" fmla="*/ 17907 w 28545"/>
                  <a:gd name="connsiteY1" fmla="*/ 21551 h 21576"/>
                  <a:gd name="connsiteX2" fmla="*/ 28382 w 28545"/>
                  <a:gd name="connsiteY2" fmla="*/ 13040 h 21576"/>
                  <a:gd name="connsiteX3" fmla="*/ 21442 w 28545"/>
                  <a:gd name="connsiteY3" fmla="*/ 1387 h 21576"/>
                  <a:gd name="connsiteX4" fmla="*/ 6516 w 28545"/>
                  <a:gd name="connsiteY4" fmla="*/ 732 h 21576"/>
                  <a:gd name="connsiteX5" fmla="*/ 100 w 28545"/>
                  <a:gd name="connsiteY5" fmla="*/ 7672 h 21576"/>
                  <a:gd name="connsiteX6" fmla="*/ 3897 w 28545"/>
                  <a:gd name="connsiteY6" fmla="*/ 16313 h 21576"/>
                  <a:gd name="connsiteX7" fmla="*/ 3897 w 28545"/>
                  <a:gd name="connsiteY7" fmla="*/ 16313 h 21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545" h="21576">
                    <a:moveTo>
                      <a:pt x="3897" y="16313"/>
                    </a:moveTo>
                    <a:cubicBezTo>
                      <a:pt x="7432" y="19194"/>
                      <a:pt x="13324" y="21158"/>
                      <a:pt x="17907" y="21551"/>
                    </a:cubicBezTo>
                    <a:cubicBezTo>
                      <a:pt x="23013" y="21943"/>
                      <a:pt x="27596" y="17884"/>
                      <a:pt x="28382" y="13040"/>
                    </a:cubicBezTo>
                    <a:cubicBezTo>
                      <a:pt x="29298" y="7934"/>
                      <a:pt x="26287" y="3220"/>
                      <a:pt x="21442" y="1387"/>
                    </a:cubicBezTo>
                    <a:cubicBezTo>
                      <a:pt x="17121" y="-184"/>
                      <a:pt x="10967" y="-446"/>
                      <a:pt x="6516" y="732"/>
                    </a:cubicBezTo>
                    <a:cubicBezTo>
                      <a:pt x="3242" y="1649"/>
                      <a:pt x="624" y="4267"/>
                      <a:pt x="100" y="7672"/>
                    </a:cubicBezTo>
                    <a:cubicBezTo>
                      <a:pt x="-424" y="11207"/>
                      <a:pt x="1147" y="14087"/>
                      <a:pt x="3897" y="16313"/>
                    </a:cubicBezTo>
                    <a:lnTo>
                      <a:pt x="3897" y="1631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ïşľîďè"/>
              <p:cNvSpPr/>
              <p:nvPr/>
            </p:nvSpPr>
            <p:spPr>
              <a:xfrm>
                <a:off x="7326743" y="-1510425"/>
                <a:ext cx="33095" cy="19945"/>
              </a:xfrm>
              <a:custGeom>
                <a:avLst/>
                <a:gdLst>
                  <a:gd name="connsiteX0" fmla="*/ 7663 w 33095"/>
                  <a:gd name="connsiteY0" fmla="*/ 19814 h 19945"/>
                  <a:gd name="connsiteX1" fmla="*/ 15911 w 33095"/>
                  <a:gd name="connsiteY1" fmla="*/ 19945 h 19945"/>
                  <a:gd name="connsiteX2" fmla="*/ 25601 w 33095"/>
                  <a:gd name="connsiteY2" fmla="*/ 19160 h 19945"/>
                  <a:gd name="connsiteX3" fmla="*/ 33064 w 33095"/>
                  <a:gd name="connsiteY3" fmla="*/ 8816 h 19945"/>
                  <a:gd name="connsiteX4" fmla="*/ 23898 w 33095"/>
                  <a:gd name="connsiteY4" fmla="*/ 43 h 19945"/>
                  <a:gd name="connsiteX5" fmla="*/ 6222 w 33095"/>
                  <a:gd name="connsiteY5" fmla="*/ 3710 h 19945"/>
                  <a:gd name="connsiteX6" fmla="*/ 7663 w 33095"/>
                  <a:gd name="connsiteY6" fmla="*/ 19814 h 19945"/>
                  <a:gd name="connsiteX7" fmla="*/ 7663 w 33095"/>
                  <a:gd name="connsiteY7" fmla="*/ 19814 h 19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095" h="19945">
                    <a:moveTo>
                      <a:pt x="7663" y="19814"/>
                    </a:moveTo>
                    <a:cubicBezTo>
                      <a:pt x="10412" y="19945"/>
                      <a:pt x="13162" y="19945"/>
                      <a:pt x="15911" y="19945"/>
                    </a:cubicBezTo>
                    <a:cubicBezTo>
                      <a:pt x="19054" y="19814"/>
                      <a:pt x="22589" y="20076"/>
                      <a:pt x="25601" y="19160"/>
                    </a:cubicBezTo>
                    <a:cubicBezTo>
                      <a:pt x="30183" y="17588"/>
                      <a:pt x="33457" y="13922"/>
                      <a:pt x="33064" y="8816"/>
                    </a:cubicBezTo>
                    <a:cubicBezTo>
                      <a:pt x="32671" y="3971"/>
                      <a:pt x="28743" y="305"/>
                      <a:pt x="23898" y="43"/>
                    </a:cubicBezTo>
                    <a:cubicBezTo>
                      <a:pt x="18268" y="-349"/>
                      <a:pt x="11591" y="2007"/>
                      <a:pt x="6222" y="3710"/>
                    </a:cubicBezTo>
                    <a:cubicBezTo>
                      <a:pt x="-2550" y="6066"/>
                      <a:pt x="-2026" y="19290"/>
                      <a:pt x="7663" y="19814"/>
                    </a:cubicBezTo>
                    <a:lnTo>
                      <a:pt x="7663" y="19814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îṡḻïḋê"/>
              <p:cNvSpPr/>
              <p:nvPr/>
            </p:nvSpPr>
            <p:spPr>
              <a:xfrm>
                <a:off x="7226529" y="-1597367"/>
                <a:ext cx="25920" cy="20216"/>
              </a:xfrm>
              <a:custGeom>
                <a:avLst/>
                <a:gdLst>
                  <a:gd name="connsiteX0" fmla="*/ 3000 w 25920"/>
                  <a:gd name="connsiteY0" fmla="*/ 15365 h 20216"/>
                  <a:gd name="connsiteX1" fmla="*/ 12820 w 25920"/>
                  <a:gd name="connsiteY1" fmla="*/ 19686 h 20216"/>
                  <a:gd name="connsiteX2" fmla="*/ 25913 w 25920"/>
                  <a:gd name="connsiteY2" fmla="*/ 10520 h 20216"/>
                  <a:gd name="connsiteX3" fmla="*/ 13605 w 25920"/>
                  <a:gd name="connsiteY3" fmla="*/ 308 h 20216"/>
                  <a:gd name="connsiteX4" fmla="*/ 3393 w 25920"/>
                  <a:gd name="connsiteY4" fmla="*/ 3712 h 20216"/>
                  <a:gd name="connsiteX5" fmla="*/ 3000 w 25920"/>
                  <a:gd name="connsiteY5" fmla="*/ 15365 h 20216"/>
                  <a:gd name="connsiteX6" fmla="*/ 3000 w 25920"/>
                  <a:gd name="connsiteY6" fmla="*/ 15365 h 20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920" h="20216">
                    <a:moveTo>
                      <a:pt x="3000" y="15365"/>
                    </a:moveTo>
                    <a:cubicBezTo>
                      <a:pt x="6142" y="17198"/>
                      <a:pt x="9415" y="18376"/>
                      <a:pt x="12820" y="19686"/>
                    </a:cubicBezTo>
                    <a:cubicBezTo>
                      <a:pt x="18974" y="21912"/>
                      <a:pt x="25651" y="16805"/>
                      <a:pt x="25913" y="10520"/>
                    </a:cubicBezTo>
                    <a:cubicBezTo>
                      <a:pt x="26175" y="4236"/>
                      <a:pt x="19890" y="-1394"/>
                      <a:pt x="13605" y="308"/>
                    </a:cubicBezTo>
                    <a:cubicBezTo>
                      <a:pt x="10070" y="1224"/>
                      <a:pt x="6666" y="2141"/>
                      <a:pt x="3393" y="3712"/>
                    </a:cubicBezTo>
                    <a:cubicBezTo>
                      <a:pt x="-928" y="6069"/>
                      <a:pt x="-1190" y="12877"/>
                      <a:pt x="3000" y="15365"/>
                    </a:cubicBezTo>
                    <a:lnTo>
                      <a:pt x="3000" y="15365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íŝlîďe"/>
              <p:cNvSpPr/>
              <p:nvPr/>
            </p:nvSpPr>
            <p:spPr>
              <a:xfrm>
                <a:off x="7114103" y="-1561908"/>
                <a:ext cx="25677" cy="24339"/>
              </a:xfrm>
              <a:custGeom>
                <a:avLst/>
                <a:gdLst>
                  <a:gd name="connsiteX0" fmla="*/ 206 w 25677"/>
                  <a:gd name="connsiteY0" fmla="*/ 6486 h 24339"/>
                  <a:gd name="connsiteX1" fmla="*/ 991 w 25677"/>
                  <a:gd name="connsiteY1" fmla="*/ 10152 h 24339"/>
                  <a:gd name="connsiteX2" fmla="*/ 4264 w 25677"/>
                  <a:gd name="connsiteY2" fmla="*/ 16044 h 24339"/>
                  <a:gd name="connsiteX3" fmla="*/ 13299 w 25677"/>
                  <a:gd name="connsiteY3" fmla="*/ 23769 h 24339"/>
                  <a:gd name="connsiteX4" fmla="*/ 24559 w 25677"/>
                  <a:gd name="connsiteY4" fmla="*/ 10283 h 24339"/>
                  <a:gd name="connsiteX5" fmla="*/ 15524 w 25677"/>
                  <a:gd name="connsiteY5" fmla="*/ 2558 h 24339"/>
                  <a:gd name="connsiteX6" fmla="*/ 9502 w 25677"/>
                  <a:gd name="connsiteY6" fmla="*/ 332 h 24339"/>
                  <a:gd name="connsiteX7" fmla="*/ 6883 w 25677"/>
                  <a:gd name="connsiteY7" fmla="*/ 332 h 24339"/>
                  <a:gd name="connsiteX8" fmla="*/ 5443 w 25677"/>
                  <a:gd name="connsiteY8" fmla="*/ 70 h 24339"/>
                  <a:gd name="connsiteX9" fmla="*/ 206 w 25677"/>
                  <a:gd name="connsiteY9" fmla="*/ 6486 h 24339"/>
                  <a:gd name="connsiteX10" fmla="*/ 206 w 25677"/>
                  <a:gd name="connsiteY10" fmla="*/ 6486 h 24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677" h="24339">
                    <a:moveTo>
                      <a:pt x="206" y="6486"/>
                    </a:moveTo>
                    <a:cubicBezTo>
                      <a:pt x="467" y="7533"/>
                      <a:pt x="598" y="8581"/>
                      <a:pt x="991" y="10152"/>
                    </a:cubicBezTo>
                    <a:cubicBezTo>
                      <a:pt x="1646" y="12509"/>
                      <a:pt x="2824" y="14080"/>
                      <a:pt x="4264" y="16044"/>
                    </a:cubicBezTo>
                    <a:cubicBezTo>
                      <a:pt x="6883" y="19448"/>
                      <a:pt x="9240" y="22067"/>
                      <a:pt x="13299" y="23769"/>
                    </a:cubicBezTo>
                    <a:cubicBezTo>
                      <a:pt x="20893" y="26780"/>
                      <a:pt x="28618" y="17222"/>
                      <a:pt x="24559" y="10283"/>
                    </a:cubicBezTo>
                    <a:cubicBezTo>
                      <a:pt x="22333" y="6486"/>
                      <a:pt x="19322" y="4522"/>
                      <a:pt x="15524" y="2558"/>
                    </a:cubicBezTo>
                    <a:cubicBezTo>
                      <a:pt x="13561" y="1511"/>
                      <a:pt x="11727" y="725"/>
                      <a:pt x="9502" y="332"/>
                    </a:cubicBezTo>
                    <a:cubicBezTo>
                      <a:pt x="8585" y="201"/>
                      <a:pt x="7799" y="332"/>
                      <a:pt x="6883" y="332"/>
                    </a:cubicBezTo>
                    <a:cubicBezTo>
                      <a:pt x="4264" y="332"/>
                      <a:pt x="7799" y="463"/>
                      <a:pt x="5443" y="70"/>
                    </a:cubicBezTo>
                    <a:cubicBezTo>
                      <a:pt x="2300" y="-584"/>
                      <a:pt x="-842" y="3474"/>
                      <a:pt x="206" y="6486"/>
                    </a:cubicBezTo>
                    <a:lnTo>
                      <a:pt x="206" y="6486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î$1îďè"/>
              <p:cNvSpPr/>
              <p:nvPr/>
            </p:nvSpPr>
            <p:spPr>
              <a:xfrm>
                <a:off x="7110589" y="-1442075"/>
                <a:ext cx="26098" cy="29415"/>
              </a:xfrm>
              <a:custGeom>
                <a:avLst/>
                <a:gdLst>
                  <a:gd name="connsiteX0" fmla="*/ 970 w 26098"/>
                  <a:gd name="connsiteY0" fmla="*/ 13002 h 29415"/>
                  <a:gd name="connsiteX1" fmla="*/ 10659 w 26098"/>
                  <a:gd name="connsiteY1" fmla="*/ 27798 h 29415"/>
                  <a:gd name="connsiteX2" fmla="*/ 25847 w 26098"/>
                  <a:gd name="connsiteY2" fmla="*/ 17061 h 29415"/>
                  <a:gd name="connsiteX3" fmla="*/ 15372 w 26098"/>
                  <a:gd name="connsiteY3" fmla="*/ 2790 h 29415"/>
                  <a:gd name="connsiteX4" fmla="*/ 3850 w 26098"/>
                  <a:gd name="connsiteY4" fmla="*/ 1611 h 29415"/>
                  <a:gd name="connsiteX5" fmla="*/ 970 w 26098"/>
                  <a:gd name="connsiteY5" fmla="*/ 13002 h 29415"/>
                  <a:gd name="connsiteX6" fmla="*/ 970 w 26098"/>
                  <a:gd name="connsiteY6" fmla="*/ 13002 h 29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098" h="29415">
                    <a:moveTo>
                      <a:pt x="970" y="13002"/>
                    </a:moveTo>
                    <a:cubicBezTo>
                      <a:pt x="3589" y="18240"/>
                      <a:pt x="5684" y="24394"/>
                      <a:pt x="10659" y="27798"/>
                    </a:cubicBezTo>
                    <a:cubicBezTo>
                      <a:pt x="17860" y="32773"/>
                      <a:pt x="27811" y="25441"/>
                      <a:pt x="25847" y="17061"/>
                    </a:cubicBezTo>
                    <a:cubicBezTo>
                      <a:pt x="24407" y="11300"/>
                      <a:pt x="19300" y="6980"/>
                      <a:pt x="15372" y="2790"/>
                    </a:cubicBezTo>
                    <a:cubicBezTo>
                      <a:pt x="12361" y="-484"/>
                      <a:pt x="7386" y="-876"/>
                      <a:pt x="3850" y="1611"/>
                    </a:cubicBezTo>
                    <a:cubicBezTo>
                      <a:pt x="54" y="4230"/>
                      <a:pt x="-994" y="8944"/>
                      <a:pt x="970" y="13002"/>
                    </a:cubicBezTo>
                    <a:lnTo>
                      <a:pt x="970" y="13002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ï$ļîḋé"/>
              <p:cNvSpPr/>
              <p:nvPr/>
            </p:nvSpPr>
            <p:spPr>
              <a:xfrm>
                <a:off x="7192299" y="-1455501"/>
                <a:ext cx="25080" cy="25151"/>
              </a:xfrm>
              <a:custGeom>
                <a:avLst/>
                <a:gdLst>
                  <a:gd name="connsiteX0" fmla="*/ 9210 w 25080"/>
                  <a:gd name="connsiteY0" fmla="*/ 19751 h 25151"/>
                  <a:gd name="connsiteX1" fmla="*/ 6329 w 25080"/>
                  <a:gd name="connsiteY1" fmla="*/ 18572 h 25151"/>
                  <a:gd name="connsiteX2" fmla="*/ 5151 w 25080"/>
                  <a:gd name="connsiteY2" fmla="*/ 17525 h 25151"/>
                  <a:gd name="connsiteX3" fmla="*/ 5151 w 25080"/>
                  <a:gd name="connsiteY3" fmla="*/ 17263 h 25151"/>
                  <a:gd name="connsiteX4" fmla="*/ 4365 w 25080"/>
                  <a:gd name="connsiteY4" fmla="*/ 15823 h 25151"/>
                  <a:gd name="connsiteX5" fmla="*/ 4104 w 25080"/>
                  <a:gd name="connsiteY5" fmla="*/ 15299 h 25151"/>
                  <a:gd name="connsiteX6" fmla="*/ 3973 w 25080"/>
                  <a:gd name="connsiteY6" fmla="*/ 14383 h 25151"/>
                  <a:gd name="connsiteX7" fmla="*/ 12614 w 25080"/>
                  <a:gd name="connsiteY7" fmla="*/ 24988 h 25151"/>
                  <a:gd name="connsiteX8" fmla="*/ 24398 w 25080"/>
                  <a:gd name="connsiteY8" fmla="*/ 17918 h 25151"/>
                  <a:gd name="connsiteX9" fmla="*/ 5020 w 25080"/>
                  <a:gd name="connsiteY9" fmla="*/ 1682 h 25151"/>
                  <a:gd name="connsiteX10" fmla="*/ 307 w 25080"/>
                  <a:gd name="connsiteY10" fmla="*/ 12157 h 25151"/>
                  <a:gd name="connsiteX11" fmla="*/ 9210 w 25080"/>
                  <a:gd name="connsiteY11" fmla="*/ 19751 h 25151"/>
                  <a:gd name="connsiteX12" fmla="*/ 9210 w 25080"/>
                  <a:gd name="connsiteY12" fmla="*/ 19751 h 25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080" h="25151">
                    <a:moveTo>
                      <a:pt x="9210" y="19751"/>
                    </a:moveTo>
                    <a:cubicBezTo>
                      <a:pt x="11043" y="19620"/>
                      <a:pt x="6329" y="18703"/>
                      <a:pt x="6329" y="18572"/>
                    </a:cubicBezTo>
                    <a:cubicBezTo>
                      <a:pt x="5937" y="18180"/>
                      <a:pt x="5544" y="17918"/>
                      <a:pt x="5151" y="17525"/>
                    </a:cubicBezTo>
                    <a:cubicBezTo>
                      <a:pt x="5675" y="18049"/>
                      <a:pt x="5675" y="18049"/>
                      <a:pt x="5151" y="17263"/>
                    </a:cubicBezTo>
                    <a:cubicBezTo>
                      <a:pt x="4758" y="16870"/>
                      <a:pt x="4496" y="16346"/>
                      <a:pt x="4365" y="15823"/>
                    </a:cubicBezTo>
                    <a:cubicBezTo>
                      <a:pt x="4104" y="14906"/>
                      <a:pt x="3973" y="14775"/>
                      <a:pt x="4104" y="15299"/>
                    </a:cubicBezTo>
                    <a:cubicBezTo>
                      <a:pt x="4496" y="15954"/>
                      <a:pt x="3711" y="17918"/>
                      <a:pt x="3973" y="14383"/>
                    </a:cubicBezTo>
                    <a:cubicBezTo>
                      <a:pt x="3580" y="19620"/>
                      <a:pt x="7639" y="24202"/>
                      <a:pt x="12614" y="24988"/>
                    </a:cubicBezTo>
                    <a:cubicBezTo>
                      <a:pt x="17721" y="25905"/>
                      <a:pt x="22696" y="22893"/>
                      <a:pt x="24398" y="17918"/>
                    </a:cubicBezTo>
                    <a:cubicBezTo>
                      <a:pt x="28195" y="6919"/>
                      <a:pt x="15364" y="-4341"/>
                      <a:pt x="5020" y="1682"/>
                    </a:cubicBezTo>
                    <a:cubicBezTo>
                      <a:pt x="1485" y="3777"/>
                      <a:pt x="-872" y="8098"/>
                      <a:pt x="307" y="12157"/>
                    </a:cubicBezTo>
                    <a:cubicBezTo>
                      <a:pt x="1354" y="16085"/>
                      <a:pt x="5020" y="20013"/>
                      <a:pt x="9210" y="19751"/>
                    </a:cubicBezTo>
                    <a:lnTo>
                      <a:pt x="9210" y="19751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iśḻiḑé"/>
              <p:cNvSpPr/>
              <p:nvPr/>
            </p:nvSpPr>
            <p:spPr>
              <a:xfrm>
                <a:off x="7044006" y="-1494032"/>
                <a:ext cx="27225" cy="19406"/>
              </a:xfrm>
              <a:custGeom>
                <a:avLst/>
                <a:gdLst>
                  <a:gd name="connsiteX0" fmla="*/ 5622 w 27225"/>
                  <a:gd name="connsiteY0" fmla="*/ 17300 h 19406"/>
                  <a:gd name="connsiteX1" fmla="*/ 17144 w 27225"/>
                  <a:gd name="connsiteY1" fmla="*/ 19395 h 19406"/>
                  <a:gd name="connsiteX2" fmla="*/ 27226 w 27225"/>
                  <a:gd name="connsiteY2" fmla="*/ 10099 h 19406"/>
                  <a:gd name="connsiteX3" fmla="*/ 17930 w 27225"/>
                  <a:gd name="connsiteY3" fmla="*/ 17 h 19406"/>
                  <a:gd name="connsiteX4" fmla="*/ 6276 w 27225"/>
                  <a:gd name="connsiteY4" fmla="*/ 1195 h 19406"/>
                  <a:gd name="connsiteX5" fmla="*/ 5622 w 27225"/>
                  <a:gd name="connsiteY5" fmla="*/ 17300 h 19406"/>
                  <a:gd name="connsiteX6" fmla="*/ 5622 w 27225"/>
                  <a:gd name="connsiteY6" fmla="*/ 17300 h 19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225" h="19406">
                    <a:moveTo>
                      <a:pt x="5622" y="17300"/>
                    </a:moveTo>
                    <a:cubicBezTo>
                      <a:pt x="9419" y="18216"/>
                      <a:pt x="13085" y="19264"/>
                      <a:pt x="17144" y="19395"/>
                    </a:cubicBezTo>
                    <a:cubicBezTo>
                      <a:pt x="22250" y="19657"/>
                      <a:pt x="27226" y="15336"/>
                      <a:pt x="27226" y="10099"/>
                    </a:cubicBezTo>
                    <a:cubicBezTo>
                      <a:pt x="27226" y="4861"/>
                      <a:pt x="23298" y="148"/>
                      <a:pt x="17930" y="17"/>
                    </a:cubicBezTo>
                    <a:cubicBezTo>
                      <a:pt x="14001" y="-114"/>
                      <a:pt x="10204" y="541"/>
                      <a:pt x="6276" y="1195"/>
                    </a:cubicBezTo>
                    <a:cubicBezTo>
                      <a:pt x="-1710" y="2505"/>
                      <a:pt x="-2234" y="15336"/>
                      <a:pt x="5622" y="17300"/>
                    </a:cubicBezTo>
                    <a:lnTo>
                      <a:pt x="5622" y="17300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ïṧḻîḑê"/>
              <p:cNvSpPr/>
              <p:nvPr/>
            </p:nvSpPr>
            <p:spPr>
              <a:xfrm>
                <a:off x="7028866" y="-1610947"/>
                <a:ext cx="20049" cy="20706"/>
              </a:xfrm>
              <a:custGeom>
                <a:avLst/>
                <a:gdLst>
                  <a:gd name="connsiteX0" fmla="*/ 9632 w 20049"/>
                  <a:gd name="connsiteY0" fmla="*/ 20697 h 20706"/>
                  <a:gd name="connsiteX1" fmla="*/ 10418 w 20049"/>
                  <a:gd name="connsiteY1" fmla="*/ 10 h 20706"/>
                  <a:gd name="connsiteX2" fmla="*/ 9632 w 20049"/>
                  <a:gd name="connsiteY2" fmla="*/ 20697 h 20706"/>
                  <a:gd name="connsiteX3" fmla="*/ 9632 w 20049"/>
                  <a:gd name="connsiteY3" fmla="*/ 20697 h 20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049" h="20706">
                    <a:moveTo>
                      <a:pt x="9632" y="20697"/>
                    </a:moveTo>
                    <a:cubicBezTo>
                      <a:pt x="22987" y="21221"/>
                      <a:pt x="23773" y="533"/>
                      <a:pt x="10418" y="10"/>
                    </a:cubicBezTo>
                    <a:cubicBezTo>
                      <a:pt x="-2937" y="-514"/>
                      <a:pt x="-3723" y="20173"/>
                      <a:pt x="9632" y="20697"/>
                    </a:cubicBezTo>
                    <a:lnTo>
                      <a:pt x="9632" y="20697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îṩļïďe"/>
              <p:cNvSpPr/>
              <p:nvPr/>
            </p:nvSpPr>
            <p:spPr>
              <a:xfrm>
                <a:off x="7139027" y="-1654420"/>
                <a:ext cx="23540" cy="24379"/>
              </a:xfrm>
              <a:custGeom>
                <a:avLst/>
                <a:gdLst>
                  <a:gd name="connsiteX0" fmla="*/ 11288 w 23540"/>
                  <a:gd name="connsiteY0" fmla="*/ 24366 h 24379"/>
                  <a:gd name="connsiteX1" fmla="*/ 12205 w 23540"/>
                  <a:gd name="connsiteY1" fmla="*/ 13 h 24379"/>
                  <a:gd name="connsiteX2" fmla="*/ 11288 w 23540"/>
                  <a:gd name="connsiteY2" fmla="*/ 24366 h 24379"/>
                  <a:gd name="connsiteX3" fmla="*/ 11288 w 23540"/>
                  <a:gd name="connsiteY3" fmla="*/ 24366 h 24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540" h="24379">
                    <a:moveTo>
                      <a:pt x="11288" y="24366"/>
                    </a:moveTo>
                    <a:cubicBezTo>
                      <a:pt x="27000" y="25021"/>
                      <a:pt x="27917" y="668"/>
                      <a:pt x="12205" y="13"/>
                    </a:cubicBezTo>
                    <a:cubicBezTo>
                      <a:pt x="-3376" y="-642"/>
                      <a:pt x="-4424" y="23712"/>
                      <a:pt x="11288" y="24366"/>
                    </a:cubicBezTo>
                    <a:lnTo>
                      <a:pt x="11288" y="24366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iṥ1iḍê"/>
              <p:cNvSpPr/>
              <p:nvPr/>
            </p:nvSpPr>
            <p:spPr>
              <a:xfrm>
                <a:off x="7371365" y="-1592214"/>
                <a:ext cx="30141" cy="18694"/>
              </a:xfrm>
              <a:custGeom>
                <a:avLst/>
                <a:gdLst>
                  <a:gd name="connsiteX0" fmla="*/ 5463 w 30141"/>
                  <a:gd name="connsiteY0" fmla="*/ 16105 h 18694"/>
                  <a:gd name="connsiteX1" fmla="*/ 24710 w 30141"/>
                  <a:gd name="connsiteY1" fmla="*/ 18069 h 18694"/>
                  <a:gd name="connsiteX2" fmla="*/ 26936 w 30141"/>
                  <a:gd name="connsiteY2" fmla="*/ 4975 h 18694"/>
                  <a:gd name="connsiteX3" fmla="*/ 8343 w 30141"/>
                  <a:gd name="connsiteY3" fmla="*/ 0 h 18694"/>
                  <a:gd name="connsiteX4" fmla="*/ 5463 w 30141"/>
                  <a:gd name="connsiteY4" fmla="*/ 16105 h 18694"/>
                  <a:gd name="connsiteX5" fmla="*/ 5463 w 30141"/>
                  <a:gd name="connsiteY5" fmla="*/ 16105 h 18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141" h="18694">
                    <a:moveTo>
                      <a:pt x="5463" y="16105"/>
                    </a:moveTo>
                    <a:cubicBezTo>
                      <a:pt x="11878" y="18592"/>
                      <a:pt x="17902" y="19378"/>
                      <a:pt x="24710" y="18069"/>
                    </a:cubicBezTo>
                    <a:cubicBezTo>
                      <a:pt x="30864" y="16890"/>
                      <a:pt x="32042" y="8249"/>
                      <a:pt x="26936" y="4975"/>
                    </a:cubicBezTo>
                    <a:cubicBezTo>
                      <a:pt x="21044" y="1309"/>
                      <a:pt x="15152" y="0"/>
                      <a:pt x="8343" y="0"/>
                    </a:cubicBezTo>
                    <a:cubicBezTo>
                      <a:pt x="-1084" y="131"/>
                      <a:pt x="-3179" y="12831"/>
                      <a:pt x="5463" y="16105"/>
                    </a:cubicBezTo>
                    <a:lnTo>
                      <a:pt x="5463" y="16105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îs1ïďê"/>
              <p:cNvSpPr/>
              <p:nvPr/>
            </p:nvSpPr>
            <p:spPr>
              <a:xfrm>
                <a:off x="7429081" y="-1441474"/>
                <a:ext cx="23931" cy="21830"/>
              </a:xfrm>
              <a:custGeom>
                <a:avLst/>
                <a:gdLst>
                  <a:gd name="connsiteX0" fmla="*/ 2084 w 23931"/>
                  <a:gd name="connsiteY0" fmla="*/ 13710 h 21830"/>
                  <a:gd name="connsiteX1" fmla="*/ 15308 w 23931"/>
                  <a:gd name="connsiteY1" fmla="*/ 21828 h 21830"/>
                  <a:gd name="connsiteX2" fmla="*/ 23557 w 23931"/>
                  <a:gd name="connsiteY2" fmla="*/ 11746 h 21830"/>
                  <a:gd name="connsiteX3" fmla="*/ 17665 w 23931"/>
                  <a:gd name="connsiteY3" fmla="*/ 3497 h 21830"/>
                  <a:gd name="connsiteX4" fmla="*/ 10594 w 23931"/>
                  <a:gd name="connsiteY4" fmla="*/ 355 h 21830"/>
                  <a:gd name="connsiteX5" fmla="*/ 1167 w 23931"/>
                  <a:gd name="connsiteY5" fmla="*/ 3759 h 21830"/>
                  <a:gd name="connsiteX6" fmla="*/ 2084 w 23931"/>
                  <a:gd name="connsiteY6" fmla="*/ 13710 h 21830"/>
                  <a:gd name="connsiteX7" fmla="*/ 2084 w 23931"/>
                  <a:gd name="connsiteY7" fmla="*/ 13710 h 21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1" h="21830">
                    <a:moveTo>
                      <a:pt x="2084" y="13710"/>
                    </a:moveTo>
                    <a:cubicBezTo>
                      <a:pt x="5488" y="18293"/>
                      <a:pt x="9285" y="21697"/>
                      <a:pt x="15308" y="21828"/>
                    </a:cubicBezTo>
                    <a:cubicBezTo>
                      <a:pt x="20153" y="21959"/>
                      <a:pt x="25390" y="16984"/>
                      <a:pt x="23557" y="11746"/>
                    </a:cubicBezTo>
                    <a:cubicBezTo>
                      <a:pt x="22248" y="8080"/>
                      <a:pt x="20938" y="5723"/>
                      <a:pt x="17665" y="3497"/>
                    </a:cubicBezTo>
                    <a:cubicBezTo>
                      <a:pt x="15439" y="2057"/>
                      <a:pt x="13082" y="1272"/>
                      <a:pt x="10594" y="355"/>
                    </a:cubicBezTo>
                    <a:cubicBezTo>
                      <a:pt x="7321" y="-692"/>
                      <a:pt x="3000" y="617"/>
                      <a:pt x="1167" y="3759"/>
                    </a:cubicBezTo>
                    <a:cubicBezTo>
                      <a:pt x="-797" y="7164"/>
                      <a:pt x="-142" y="10699"/>
                      <a:pt x="2084" y="13710"/>
                    </a:cubicBezTo>
                    <a:lnTo>
                      <a:pt x="2084" y="13710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ïṧ1íḓê"/>
              <p:cNvSpPr/>
              <p:nvPr/>
            </p:nvSpPr>
            <p:spPr>
              <a:xfrm>
                <a:off x="7372706" y="-1370270"/>
                <a:ext cx="26766" cy="22910"/>
              </a:xfrm>
              <a:custGeom>
                <a:avLst/>
                <a:gdLst>
                  <a:gd name="connsiteX0" fmla="*/ 5431 w 26766"/>
                  <a:gd name="connsiteY0" fmla="*/ 16876 h 22910"/>
                  <a:gd name="connsiteX1" fmla="*/ 6740 w 26766"/>
                  <a:gd name="connsiteY1" fmla="*/ 17269 h 22910"/>
                  <a:gd name="connsiteX2" fmla="*/ 8180 w 26766"/>
                  <a:gd name="connsiteY2" fmla="*/ 17531 h 22910"/>
                  <a:gd name="connsiteX3" fmla="*/ 8704 w 26766"/>
                  <a:gd name="connsiteY3" fmla="*/ 17662 h 22910"/>
                  <a:gd name="connsiteX4" fmla="*/ 9228 w 26766"/>
                  <a:gd name="connsiteY4" fmla="*/ 17924 h 22910"/>
                  <a:gd name="connsiteX5" fmla="*/ 8049 w 26766"/>
                  <a:gd name="connsiteY5" fmla="*/ 17400 h 22910"/>
                  <a:gd name="connsiteX6" fmla="*/ 8049 w 26766"/>
                  <a:gd name="connsiteY6" fmla="*/ 17269 h 22910"/>
                  <a:gd name="connsiteX7" fmla="*/ 8180 w 26766"/>
                  <a:gd name="connsiteY7" fmla="*/ 17531 h 22910"/>
                  <a:gd name="connsiteX8" fmla="*/ 10668 w 26766"/>
                  <a:gd name="connsiteY8" fmla="*/ 19888 h 22910"/>
                  <a:gd name="connsiteX9" fmla="*/ 10014 w 26766"/>
                  <a:gd name="connsiteY9" fmla="*/ 19495 h 22910"/>
                  <a:gd name="connsiteX10" fmla="*/ 14596 w 26766"/>
                  <a:gd name="connsiteY10" fmla="*/ 22375 h 22910"/>
                  <a:gd name="connsiteX11" fmla="*/ 22714 w 26766"/>
                  <a:gd name="connsiteY11" fmla="*/ 21066 h 22910"/>
                  <a:gd name="connsiteX12" fmla="*/ 26642 w 26766"/>
                  <a:gd name="connsiteY12" fmla="*/ 13996 h 22910"/>
                  <a:gd name="connsiteX13" fmla="*/ 16429 w 26766"/>
                  <a:gd name="connsiteY13" fmla="*/ 772 h 22910"/>
                  <a:gd name="connsiteX14" fmla="*/ 2288 w 26766"/>
                  <a:gd name="connsiteY14" fmla="*/ 3521 h 22910"/>
                  <a:gd name="connsiteX15" fmla="*/ 5431 w 26766"/>
                  <a:gd name="connsiteY15" fmla="*/ 16876 h 22910"/>
                  <a:gd name="connsiteX16" fmla="*/ 5431 w 26766"/>
                  <a:gd name="connsiteY16" fmla="*/ 16876 h 22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766" h="22910">
                    <a:moveTo>
                      <a:pt x="5431" y="16876"/>
                    </a:moveTo>
                    <a:cubicBezTo>
                      <a:pt x="5824" y="17007"/>
                      <a:pt x="6216" y="17138"/>
                      <a:pt x="6740" y="17269"/>
                    </a:cubicBezTo>
                    <a:cubicBezTo>
                      <a:pt x="7264" y="17400"/>
                      <a:pt x="7656" y="17531"/>
                      <a:pt x="8180" y="17531"/>
                    </a:cubicBezTo>
                    <a:cubicBezTo>
                      <a:pt x="9490" y="17793"/>
                      <a:pt x="9751" y="17793"/>
                      <a:pt x="8704" y="17662"/>
                    </a:cubicBezTo>
                    <a:cubicBezTo>
                      <a:pt x="7264" y="16745"/>
                      <a:pt x="9097" y="18186"/>
                      <a:pt x="9228" y="17924"/>
                    </a:cubicBezTo>
                    <a:cubicBezTo>
                      <a:pt x="8835" y="17793"/>
                      <a:pt x="8442" y="17662"/>
                      <a:pt x="8049" y="17400"/>
                    </a:cubicBezTo>
                    <a:cubicBezTo>
                      <a:pt x="8704" y="17924"/>
                      <a:pt x="8704" y="17793"/>
                      <a:pt x="8049" y="17269"/>
                    </a:cubicBezTo>
                    <a:cubicBezTo>
                      <a:pt x="7656" y="16353"/>
                      <a:pt x="7788" y="17007"/>
                      <a:pt x="8180" y="17531"/>
                    </a:cubicBezTo>
                    <a:cubicBezTo>
                      <a:pt x="8966" y="18448"/>
                      <a:pt x="9751" y="19233"/>
                      <a:pt x="10668" y="19888"/>
                    </a:cubicBezTo>
                    <a:cubicBezTo>
                      <a:pt x="10275" y="19626"/>
                      <a:pt x="9097" y="18448"/>
                      <a:pt x="10014" y="19495"/>
                    </a:cubicBezTo>
                    <a:cubicBezTo>
                      <a:pt x="11454" y="20935"/>
                      <a:pt x="12763" y="21459"/>
                      <a:pt x="14596" y="22375"/>
                    </a:cubicBezTo>
                    <a:cubicBezTo>
                      <a:pt x="17215" y="23554"/>
                      <a:pt x="20619" y="22637"/>
                      <a:pt x="22714" y="21066"/>
                    </a:cubicBezTo>
                    <a:cubicBezTo>
                      <a:pt x="25332" y="19233"/>
                      <a:pt x="26118" y="17007"/>
                      <a:pt x="26642" y="13996"/>
                    </a:cubicBezTo>
                    <a:cubicBezTo>
                      <a:pt x="27689" y="7842"/>
                      <a:pt x="21928" y="2474"/>
                      <a:pt x="16429" y="772"/>
                    </a:cubicBezTo>
                    <a:cubicBezTo>
                      <a:pt x="11585" y="-669"/>
                      <a:pt x="5954" y="-276"/>
                      <a:pt x="2288" y="3521"/>
                    </a:cubicBezTo>
                    <a:cubicBezTo>
                      <a:pt x="-1378" y="7318"/>
                      <a:pt x="-854" y="15305"/>
                      <a:pt x="5431" y="16876"/>
                    </a:cubicBezTo>
                    <a:lnTo>
                      <a:pt x="5431" y="16876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ïś1ïďe"/>
              <p:cNvSpPr/>
              <p:nvPr/>
            </p:nvSpPr>
            <p:spPr>
              <a:xfrm>
                <a:off x="7235806" y="-1399548"/>
                <a:ext cx="21195" cy="19689"/>
              </a:xfrm>
              <a:custGeom>
                <a:avLst/>
                <a:gdLst>
                  <a:gd name="connsiteX0" fmla="*/ 12185 w 21195"/>
                  <a:gd name="connsiteY0" fmla="*/ 19444 h 19689"/>
                  <a:gd name="connsiteX1" fmla="*/ 18469 w 21195"/>
                  <a:gd name="connsiteY1" fmla="*/ 16433 h 19689"/>
                  <a:gd name="connsiteX2" fmla="*/ 18993 w 21195"/>
                  <a:gd name="connsiteY2" fmla="*/ 3994 h 19689"/>
                  <a:gd name="connsiteX3" fmla="*/ 12970 w 21195"/>
                  <a:gd name="connsiteY3" fmla="*/ 459 h 19689"/>
                  <a:gd name="connsiteX4" fmla="*/ 8 w 21195"/>
                  <a:gd name="connsiteY4" fmla="*/ 9494 h 19689"/>
                  <a:gd name="connsiteX5" fmla="*/ 12185 w 21195"/>
                  <a:gd name="connsiteY5" fmla="*/ 19444 h 19689"/>
                  <a:gd name="connsiteX6" fmla="*/ 12185 w 21195"/>
                  <a:gd name="connsiteY6" fmla="*/ 19444 h 19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195" h="19689">
                    <a:moveTo>
                      <a:pt x="12185" y="19444"/>
                    </a:moveTo>
                    <a:cubicBezTo>
                      <a:pt x="14541" y="18921"/>
                      <a:pt x="16767" y="18135"/>
                      <a:pt x="18469" y="16433"/>
                    </a:cubicBezTo>
                    <a:cubicBezTo>
                      <a:pt x="21874" y="12767"/>
                      <a:pt x="22136" y="7922"/>
                      <a:pt x="18993" y="3994"/>
                    </a:cubicBezTo>
                    <a:cubicBezTo>
                      <a:pt x="17422" y="2030"/>
                      <a:pt x="15327" y="1114"/>
                      <a:pt x="12970" y="459"/>
                    </a:cubicBezTo>
                    <a:cubicBezTo>
                      <a:pt x="6816" y="-1505"/>
                      <a:pt x="270" y="3078"/>
                      <a:pt x="8" y="9494"/>
                    </a:cubicBezTo>
                    <a:cubicBezTo>
                      <a:pt x="-254" y="15778"/>
                      <a:pt x="5900" y="20885"/>
                      <a:pt x="12185" y="19444"/>
                    </a:cubicBezTo>
                    <a:lnTo>
                      <a:pt x="12185" y="19444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iSḷiďè"/>
              <p:cNvSpPr/>
              <p:nvPr/>
            </p:nvSpPr>
            <p:spPr>
              <a:xfrm>
                <a:off x="7546132" y="-1342956"/>
                <a:ext cx="33112" cy="23858"/>
              </a:xfrm>
              <a:custGeom>
                <a:avLst/>
                <a:gdLst>
                  <a:gd name="connsiteX0" fmla="*/ 2347 w 33112"/>
                  <a:gd name="connsiteY0" fmla="*/ 15225 h 23858"/>
                  <a:gd name="connsiteX1" fmla="*/ 14001 w 33112"/>
                  <a:gd name="connsiteY1" fmla="*/ 21903 h 23858"/>
                  <a:gd name="connsiteX2" fmla="*/ 28403 w 33112"/>
                  <a:gd name="connsiteY2" fmla="*/ 22295 h 23858"/>
                  <a:gd name="connsiteX3" fmla="*/ 32200 w 33112"/>
                  <a:gd name="connsiteY3" fmla="*/ 9988 h 23858"/>
                  <a:gd name="connsiteX4" fmla="*/ 21071 w 33112"/>
                  <a:gd name="connsiteY4" fmla="*/ 2001 h 23858"/>
                  <a:gd name="connsiteX5" fmla="*/ 9418 w 33112"/>
                  <a:gd name="connsiteY5" fmla="*/ 37 h 23858"/>
                  <a:gd name="connsiteX6" fmla="*/ 907 w 33112"/>
                  <a:gd name="connsiteY6" fmla="*/ 5274 h 23858"/>
                  <a:gd name="connsiteX7" fmla="*/ 2347 w 33112"/>
                  <a:gd name="connsiteY7" fmla="*/ 15225 h 23858"/>
                  <a:gd name="connsiteX8" fmla="*/ 2347 w 33112"/>
                  <a:gd name="connsiteY8" fmla="*/ 15225 h 23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112" h="23858">
                    <a:moveTo>
                      <a:pt x="2347" y="15225"/>
                    </a:moveTo>
                    <a:cubicBezTo>
                      <a:pt x="5621" y="18237"/>
                      <a:pt x="9942" y="20331"/>
                      <a:pt x="14001" y="21903"/>
                    </a:cubicBezTo>
                    <a:cubicBezTo>
                      <a:pt x="18714" y="23867"/>
                      <a:pt x="23689" y="24914"/>
                      <a:pt x="28403" y="22295"/>
                    </a:cubicBezTo>
                    <a:cubicBezTo>
                      <a:pt x="32986" y="19677"/>
                      <a:pt x="34164" y="14570"/>
                      <a:pt x="32200" y="9988"/>
                    </a:cubicBezTo>
                    <a:cubicBezTo>
                      <a:pt x="30236" y="5405"/>
                      <a:pt x="25653" y="3310"/>
                      <a:pt x="21071" y="2001"/>
                    </a:cubicBezTo>
                    <a:cubicBezTo>
                      <a:pt x="17536" y="954"/>
                      <a:pt x="12953" y="-225"/>
                      <a:pt x="9418" y="37"/>
                    </a:cubicBezTo>
                    <a:cubicBezTo>
                      <a:pt x="5752" y="299"/>
                      <a:pt x="2478" y="1739"/>
                      <a:pt x="907" y="5274"/>
                    </a:cubicBezTo>
                    <a:cubicBezTo>
                      <a:pt x="-533" y="8286"/>
                      <a:pt x="-402" y="12737"/>
                      <a:pt x="2347" y="15225"/>
                    </a:cubicBezTo>
                    <a:lnTo>
                      <a:pt x="2347" y="15225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ïşlíḍé"/>
              <p:cNvSpPr/>
              <p:nvPr/>
            </p:nvSpPr>
            <p:spPr>
              <a:xfrm>
                <a:off x="7453252" y="-1490935"/>
                <a:ext cx="20866" cy="20240"/>
              </a:xfrm>
              <a:custGeom>
                <a:avLst/>
                <a:gdLst>
                  <a:gd name="connsiteX0" fmla="*/ 1219 w 20866"/>
                  <a:gd name="connsiteY0" fmla="*/ 14072 h 20240"/>
                  <a:gd name="connsiteX1" fmla="*/ 1481 w 20866"/>
                  <a:gd name="connsiteY1" fmla="*/ 14857 h 20240"/>
                  <a:gd name="connsiteX2" fmla="*/ 20728 w 20866"/>
                  <a:gd name="connsiteY2" fmla="*/ 10536 h 20240"/>
                  <a:gd name="connsiteX3" fmla="*/ 2004 w 20866"/>
                  <a:gd name="connsiteY3" fmla="*/ 4645 h 20240"/>
                  <a:gd name="connsiteX4" fmla="*/ 1481 w 20866"/>
                  <a:gd name="connsiteY4" fmla="*/ 5299 h 20240"/>
                  <a:gd name="connsiteX5" fmla="*/ 1088 w 20866"/>
                  <a:gd name="connsiteY5" fmla="*/ 14334 h 20240"/>
                  <a:gd name="connsiteX6" fmla="*/ 1611 w 20866"/>
                  <a:gd name="connsiteY6" fmla="*/ 14988 h 20240"/>
                  <a:gd name="connsiteX7" fmla="*/ 20858 w 20866"/>
                  <a:gd name="connsiteY7" fmla="*/ 10667 h 20240"/>
                  <a:gd name="connsiteX8" fmla="*/ 2135 w 20866"/>
                  <a:gd name="connsiteY8" fmla="*/ 4775 h 20240"/>
                  <a:gd name="connsiteX9" fmla="*/ 1219 w 20866"/>
                  <a:gd name="connsiteY9" fmla="*/ 14072 h 20240"/>
                  <a:gd name="connsiteX10" fmla="*/ 1219 w 20866"/>
                  <a:gd name="connsiteY10" fmla="*/ 14072 h 20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866" h="20240">
                    <a:moveTo>
                      <a:pt x="1219" y="14072"/>
                    </a:moveTo>
                    <a:cubicBezTo>
                      <a:pt x="1350" y="14334"/>
                      <a:pt x="1481" y="14595"/>
                      <a:pt x="1481" y="14857"/>
                    </a:cubicBezTo>
                    <a:cubicBezTo>
                      <a:pt x="5409" y="24546"/>
                      <a:pt x="20335" y="19964"/>
                      <a:pt x="20728" y="10536"/>
                    </a:cubicBezTo>
                    <a:cubicBezTo>
                      <a:pt x="21121" y="-331"/>
                      <a:pt x="8027" y="-2688"/>
                      <a:pt x="2004" y="4645"/>
                    </a:cubicBezTo>
                    <a:cubicBezTo>
                      <a:pt x="1874" y="4906"/>
                      <a:pt x="1611" y="5037"/>
                      <a:pt x="1481" y="5299"/>
                    </a:cubicBezTo>
                    <a:cubicBezTo>
                      <a:pt x="-353" y="7525"/>
                      <a:pt x="-484" y="11977"/>
                      <a:pt x="1088" y="14334"/>
                    </a:cubicBezTo>
                    <a:cubicBezTo>
                      <a:pt x="1219" y="14595"/>
                      <a:pt x="1350" y="14726"/>
                      <a:pt x="1611" y="14988"/>
                    </a:cubicBezTo>
                    <a:cubicBezTo>
                      <a:pt x="6980" y="22844"/>
                      <a:pt x="20335" y="21535"/>
                      <a:pt x="20858" y="10667"/>
                    </a:cubicBezTo>
                    <a:cubicBezTo>
                      <a:pt x="21251" y="1240"/>
                      <a:pt x="6718" y="-4652"/>
                      <a:pt x="2135" y="4775"/>
                    </a:cubicBezTo>
                    <a:cubicBezTo>
                      <a:pt x="171" y="7918"/>
                      <a:pt x="-221" y="10406"/>
                      <a:pt x="1219" y="14072"/>
                    </a:cubicBezTo>
                    <a:lnTo>
                      <a:pt x="1219" y="14072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îsḻiḑè"/>
              <p:cNvSpPr/>
              <p:nvPr/>
            </p:nvSpPr>
            <p:spPr>
              <a:xfrm>
                <a:off x="6850436" y="-1620135"/>
                <a:ext cx="31154" cy="24652"/>
              </a:xfrm>
              <a:custGeom>
                <a:avLst/>
                <a:gdLst>
                  <a:gd name="connsiteX0" fmla="*/ 28718 w 31154"/>
                  <a:gd name="connsiteY0" fmla="*/ 9198 h 24652"/>
                  <a:gd name="connsiteX1" fmla="*/ 7900 w 31154"/>
                  <a:gd name="connsiteY1" fmla="*/ 294 h 24652"/>
                  <a:gd name="connsiteX2" fmla="*/ 1222 w 31154"/>
                  <a:gd name="connsiteY2" fmla="*/ 14959 h 24652"/>
                  <a:gd name="connsiteX3" fmla="*/ 21517 w 31154"/>
                  <a:gd name="connsiteY3" fmla="*/ 24648 h 24652"/>
                  <a:gd name="connsiteX4" fmla="*/ 28718 w 31154"/>
                  <a:gd name="connsiteY4" fmla="*/ 9198 h 24652"/>
                  <a:gd name="connsiteX5" fmla="*/ 28718 w 31154"/>
                  <a:gd name="connsiteY5" fmla="*/ 9198 h 24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154" h="24652">
                    <a:moveTo>
                      <a:pt x="28718" y="9198"/>
                    </a:moveTo>
                    <a:cubicBezTo>
                      <a:pt x="23612" y="3698"/>
                      <a:pt x="15756" y="-1277"/>
                      <a:pt x="7900" y="294"/>
                    </a:cubicBezTo>
                    <a:cubicBezTo>
                      <a:pt x="1615" y="1473"/>
                      <a:pt x="-2051" y="9459"/>
                      <a:pt x="1222" y="14959"/>
                    </a:cubicBezTo>
                    <a:cubicBezTo>
                      <a:pt x="5281" y="21767"/>
                      <a:pt x="14053" y="24386"/>
                      <a:pt x="21517" y="24648"/>
                    </a:cubicBezTo>
                    <a:cubicBezTo>
                      <a:pt x="29503" y="24909"/>
                      <a:pt x="34348" y="15090"/>
                      <a:pt x="28718" y="9198"/>
                    </a:cubicBezTo>
                    <a:lnTo>
                      <a:pt x="28718" y="9198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íṧḻiďê"/>
              <p:cNvSpPr/>
              <p:nvPr/>
            </p:nvSpPr>
            <p:spPr>
              <a:xfrm>
                <a:off x="6943691" y="-1536346"/>
                <a:ext cx="31357" cy="18593"/>
              </a:xfrm>
              <a:custGeom>
                <a:avLst/>
                <a:gdLst>
                  <a:gd name="connsiteX0" fmla="*/ 27377 w 31357"/>
                  <a:gd name="connsiteY0" fmla="*/ 4229 h 18593"/>
                  <a:gd name="connsiteX1" fmla="*/ 9439 w 31357"/>
                  <a:gd name="connsiteY1" fmla="*/ 40 h 18593"/>
                  <a:gd name="connsiteX2" fmla="*/ 12 w 31357"/>
                  <a:gd name="connsiteY2" fmla="*/ 8812 h 18593"/>
                  <a:gd name="connsiteX3" fmla="*/ 8784 w 31357"/>
                  <a:gd name="connsiteY3" fmla="*/ 18370 h 18593"/>
                  <a:gd name="connsiteX4" fmla="*/ 26984 w 31357"/>
                  <a:gd name="connsiteY4" fmla="*/ 15620 h 18593"/>
                  <a:gd name="connsiteX5" fmla="*/ 27377 w 31357"/>
                  <a:gd name="connsiteY5" fmla="*/ 4229 h 18593"/>
                  <a:gd name="connsiteX6" fmla="*/ 27377 w 31357"/>
                  <a:gd name="connsiteY6" fmla="*/ 4229 h 18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357" h="18593">
                    <a:moveTo>
                      <a:pt x="27377" y="4229"/>
                    </a:moveTo>
                    <a:cubicBezTo>
                      <a:pt x="21747" y="2265"/>
                      <a:pt x="15462" y="-353"/>
                      <a:pt x="9439" y="40"/>
                    </a:cubicBezTo>
                    <a:cubicBezTo>
                      <a:pt x="4464" y="432"/>
                      <a:pt x="143" y="3444"/>
                      <a:pt x="12" y="8812"/>
                    </a:cubicBezTo>
                    <a:cubicBezTo>
                      <a:pt x="-250" y="14180"/>
                      <a:pt x="3809" y="17584"/>
                      <a:pt x="8784" y="18370"/>
                    </a:cubicBezTo>
                    <a:cubicBezTo>
                      <a:pt x="14807" y="19287"/>
                      <a:pt x="21223" y="17192"/>
                      <a:pt x="26984" y="15620"/>
                    </a:cubicBezTo>
                    <a:cubicBezTo>
                      <a:pt x="32614" y="14180"/>
                      <a:pt x="32876" y="6193"/>
                      <a:pt x="27377" y="4229"/>
                    </a:cubicBezTo>
                    <a:lnTo>
                      <a:pt x="27377" y="422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îṡḷîďé"/>
              <p:cNvSpPr/>
              <p:nvPr/>
            </p:nvSpPr>
            <p:spPr>
              <a:xfrm>
                <a:off x="6961947" y="-1696615"/>
                <a:ext cx="20359" cy="24746"/>
              </a:xfrm>
              <a:custGeom>
                <a:avLst/>
                <a:gdLst>
                  <a:gd name="connsiteX0" fmla="*/ 19989 w 20359"/>
                  <a:gd name="connsiteY0" fmla="*/ 21389 h 24746"/>
                  <a:gd name="connsiteX1" fmla="*/ 18680 w 20359"/>
                  <a:gd name="connsiteY1" fmla="*/ 7380 h 24746"/>
                  <a:gd name="connsiteX2" fmla="*/ 7289 w 20359"/>
                  <a:gd name="connsiteY2" fmla="*/ 309 h 24746"/>
                  <a:gd name="connsiteX3" fmla="*/ 2968 w 20359"/>
                  <a:gd name="connsiteY3" fmla="*/ 2535 h 24746"/>
                  <a:gd name="connsiteX4" fmla="*/ 2444 w 20359"/>
                  <a:gd name="connsiteY4" fmla="*/ 15890 h 24746"/>
                  <a:gd name="connsiteX5" fmla="*/ 13704 w 20359"/>
                  <a:gd name="connsiteY5" fmla="*/ 24532 h 24746"/>
                  <a:gd name="connsiteX6" fmla="*/ 19989 w 20359"/>
                  <a:gd name="connsiteY6" fmla="*/ 21389 h 24746"/>
                  <a:gd name="connsiteX7" fmla="*/ 19989 w 20359"/>
                  <a:gd name="connsiteY7" fmla="*/ 21389 h 24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359" h="24746">
                    <a:moveTo>
                      <a:pt x="19989" y="21389"/>
                    </a:moveTo>
                    <a:cubicBezTo>
                      <a:pt x="20906" y="16807"/>
                      <a:pt x="19989" y="11831"/>
                      <a:pt x="18680" y="7380"/>
                    </a:cubicBezTo>
                    <a:cubicBezTo>
                      <a:pt x="17370" y="2666"/>
                      <a:pt x="12395" y="-1131"/>
                      <a:pt x="7289" y="309"/>
                    </a:cubicBezTo>
                    <a:cubicBezTo>
                      <a:pt x="5587" y="833"/>
                      <a:pt x="4408" y="1357"/>
                      <a:pt x="2968" y="2535"/>
                    </a:cubicBezTo>
                    <a:cubicBezTo>
                      <a:pt x="-829" y="5939"/>
                      <a:pt x="-960" y="12093"/>
                      <a:pt x="2444" y="15890"/>
                    </a:cubicBezTo>
                    <a:cubicBezTo>
                      <a:pt x="5587" y="19295"/>
                      <a:pt x="9253" y="22961"/>
                      <a:pt x="13704" y="24532"/>
                    </a:cubicBezTo>
                    <a:cubicBezTo>
                      <a:pt x="16061" y="25317"/>
                      <a:pt x="19465" y="23877"/>
                      <a:pt x="19989" y="21389"/>
                    </a:cubicBezTo>
                    <a:lnTo>
                      <a:pt x="19989" y="2138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ïṩḷiďè"/>
              <p:cNvSpPr/>
              <p:nvPr/>
            </p:nvSpPr>
            <p:spPr>
              <a:xfrm>
                <a:off x="7070743" y="-1706386"/>
                <a:ext cx="22779" cy="23652"/>
              </a:xfrm>
              <a:custGeom>
                <a:avLst/>
                <a:gdLst>
                  <a:gd name="connsiteX0" fmla="*/ 22616 w 22779"/>
                  <a:gd name="connsiteY0" fmla="*/ 17151 h 23652"/>
                  <a:gd name="connsiteX1" fmla="*/ 21699 w 22779"/>
                  <a:gd name="connsiteY1" fmla="*/ 12045 h 23652"/>
                  <a:gd name="connsiteX2" fmla="*/ 19343 w 22779"/>
                  <a:gd name="connsiteY2" fmla="*/ 5367 h 23652"/>
                  <a:gd name="connsiteX3" fmla="*/ 3238 w 22779"/>
                  <a:gd name="connsiteY3" fmla="*/ 2618 h 23652"/>
                  <a:gd name="connsiteX4" fmla="*/ 4678 w 22779"/>
                  <a:gd name="connsiteY4" fmla="*/ 18853 h 23652"/>
                  <a:gd name="connsiteX5" fmla="*/ 11094 w 22779"/>
                  <a:gd name="connsiteY5" fmla="*/ 21865 h 23652"/>
                  <a:gd name="connsiteX6" fmla="*/ 15938 w 22779"/>
                  <a:gd name="connsiteY6" fmla="*/ 23305 h 23652"/>
                  <a:gd name="connsiteX7" fmla="*/ 22616 w 22779"/>
                  <a:gd name="connsiteY7" fmla="*/ 17151 h 23652"/>
                  <a:gd name="connsiteX8" fmla="*/ 22616 w 22779"/>
                  <a:gd name="connsiteY8" fmla="*/ 17151 h 23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779" h="23652">
                    <a:moveTo>
                      <a:pt x="22616" y="17151"/>
                    </a:moveTo>
                    <a:cubicBezTo>
                      <a:pt x="22092" y="15449"/>
                      <a:pt x="22092" y="13747"/>
                      <a:pt x="21699" y="12045"/>
                    </a:cubicBezTo>
                    <a:cubicBezTo>
                      <a:pt x="21307" y="9819"/>
                      <a:pt x="20259" y="7462"/>
                      <a:pt x="19343" y="5367"/>
                    </a:cubicBezTo>
                    <a:cubicBezTo>
                      <a:pt x="16593" y="-787"/>
                      <a:pt x="7952" y="-1572"/>
                      <a:pt x="3238" y="2618"/>
                    </a:cubicBezTo>
                    <a:cubicBezTo>
                      <a:pt x="-1476" y="6938"/>
                      <a:pt x="-1083" y="15580"/>
                      <a:pt x="4678" y="18853"/>
                    </a:cubicBezTo>
                    <a:cubicBezTo>
                      <a:pt x="6511" y="19901"/>
                      <a:pt x="8868" y="21210"/>
                      <a:pt x="11094" y="21865"/>
                    </a:cubicBezTo>
                    <a:cubicBezTo>
                      <a:pt x="12796" y="22388"/>
                      <a:pt x="14367" y="22519"/>
                      <a:pt x="15938" y="23305"/>
                    </a:cubicBezTo>
                    <a:cubicBezTo>
                      <a:pt x="19473" y="24876"/>
                      <a:pt x="23663" y="20817"/>
                      <a:pt x="22616" y="17151"/>
                    </a:cubicBezTo>
                    <a:lnTo>
                      <a:pt x="22616" y="17151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iṩ1îdê"/>
              <p:cNvSpPr/>
              <p:nvPr/>
            </p:nvSpPr>
            <p:spPr>
              <a:xfrm>
                <a:off x="7223492" y="-1681735"/>
                <a:ext cx="28051" cy="24766"/>
              </a:xfrm>
              <a:custGeom>
                <a:avLst/>
                <a:gdLst>
                  <a:gd name="connsiteX0" fmla="*/ 27379 w 28051"/>
                  <a:gd name="connsiteY0" fmla="*/ 17769 h 24766"/>
                  <a:gd name="connsiteX1" fmla="*/ 22141 w 28051"/>
                  <a:gd name="connsiteY1" fmla="*/ 8080 h 24766"/>
                  <a:gd name="connsiteX2" fmla="*/ 6691 w 28051"/>
                  <a:gd name="connsiteY2" fmla="*/ 355 h 24766"/>
                  <a:gd name="connsiteX3" fmla="*/ 14 w 28051"/>
                  <a:gd name="connsiteY3" fmla="*/ 8473 h 24766"/>
                  <a:gd name="connsiteX4" fmla="*/ 2894 w 28051"/>
                  <a:gd name="connsiteY4" fmla="*/ 17246 h 24766"/>
                  <a:gd name="connsiteX5" fmla="*/ 11536 w 28051"/>
                  <a:gd name="connsiteY5" fmla="*/ 21959 h 24766"/>
                  <a:gd name="connsiteX6" fmla="*/ 21879 w 28051"/>
                  <a:gd name="connsiteY6" fmla="*/ 24578 h 24766"/>
                  <a:gd name="connsiteX7" fmla="*/ 27379 w 28051"/>
                  <a:gd name="connsiteY7" fmla="*/ 17769 h 24766"/>
                  <a:gd name="connsiteX8" fmla="*/ 27379 w 28051"/>
                  <a:gd name="connsiteY8" fmla="*/ 17769 h 24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051" h="24766">
                    <a:moveTo>
                      <a:pt x="27379" y="17769"/>
                    </a:moveTo>
                    <a:cubicBezTo>
                      <a:pt x="25153" y="14496"/>
                      <a:pt x="23450" y="11092"/>
                      <a:pt x="22141" y="8080"/>
                    </a:cubicBezTo>
                    <a:cubicBezTo>
                      <a:pt x="19261" y="1926"/>
                      <a:pt x="13238" y="-1085"/>
                      <a:pt x="6691" y="355"/>
                    </a:cubicBezTo>
                    <a:cubicBezTo>
                      <a:pt x="3287" y="1010"/>
                      <a:pt x="-248" y="4807"/>
                      <a:pt x="14" y="8473"/>
                    </a:cubicBezTo>
                    <a:cubicBezTo>
                      <a:pt x="144" y="11746"/>
                      <a:pt x="668" y="14627"/>
                      <a:pt x="2894" y="17246"/>
                    </a:cubicBezTo>
                    <a:cubicBezTo>
                      <a:pt x="5120" y="19864"/>
                      <a:pt x="8263" y="21435"/>
                      <a:pt x="11536" y="21959"/>
                    </a:cubicBezTo>
                    <a:cubicBezTo>
                      <a:pt x="14547" y="22483"/>
                      <a:pt x="18213" y="23268"/>
                      <a:pt x="21879" y="24578"/>
                    </a:cubicBezTo>
                    <a:cubicBezTo>
                      <a:pt x="25415" y="25756"/>
                      <a:pt x="29735" y="21173"/>
                      <a:pt x="27379" y="17769"/>
                    </a:cubicBezTo>
                    <a:lnTo>
                      <a:pt x="27379" y="1776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íṡlíḓé"/>
              <p:cNvSpPr/>
              <p:nvPr/>
            </p:nvSpPr>
            <p:spPr>
              <a:xfrm>
                <a:off x="7159302" y="-1726160"/>
                <a:ext cx="21794" cy="22790"/>
              </a:xfrm>
              <a:custGeom>
                <a:avLst/>
                <a:gdLst>
                  <a:gd name="connsiteX0" fmla="*/ 21389 w 21794"/>
                  <a:gd name="connsiteY0" fmla="*/ 10084 h 22790"/>
                  <a:gd name="connsiteX1" fmla="*/ 17592 w 21794"/>
                  <a:gd name="connsiteY1" fmla="*/ 3275 h 22790"/>
                  <a:gd name="connsiteX2" fmla="*/ 5285 w 21794"/>
                  <a:gd name="connsiteY2" fmla="*/ 1180 h 22790"/>
                  <a:gd name="connsiteX3" fmla="*/ 178 w 21794"/>
                  <a:gd name="connsiteY3" fmla="*/ 12440 h 22790"/>
                  <a:gd name="connsiteX4" fmla="*/ 1749 w 21794"/>
                  <a:gd name="connsiteY4" fmla="*/ 17285 h 22790"/>
                  <a:gd name="connsiteX5" fmla="*/ 14712 w 21794"/>
                  <a:gd name="connsiteY5" fmla="*/ 22129 h 22790"/>
                  <a:gd name="connsiteX6" fmla="*/ 21389 w 21794"/>
                  <a:gd name="connsiteY6" fmla="*/ 10084 h 22790"/>
                  <a:gd name="connsiteX7" fmla="*/ 21389 w 21794"/>
                  <a:gd name="connsiteY7" fmla="*/ 10084 h 22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794" h="22790">
                    <a:moveTo>
                      <a:pt x="21389" y="10084"/>
                    </a:moveTo>
                    <a:cubicBezTo>
                      <a:pt x="20473" y="7465"/>
                      <a:pt x="19294" y="5501"/>
                      <a:pt x="17592" y="3275"/>
                    </a:cubicBezTo>
                    <a:cubicBezTo>
                      <a:pt x="14842" y="2"/>
                      <a:pt x="9081" y="-1046"/>
                      <a:pt x="5285" y="1180"/>
                    </a:cubicBezTo>
                    <a:cubicBezTo>
                      <a:pt x="1226" y="3537"/>
                      <a:pt x="-607" y="7858"/>
                      <a:pt x="178" y="12440"/>
                    </a:cubicBezTo>
                    <a:cubicBezTo>
                      <a:pt x="440" y="14142"/>
                      <a:pt x="964" y="15714"/>
                      <a:pt x="1749" y="17285"/>
                    </a:cubicBezTo>
                    <a:cubicBezTo>
                      <a:pt x="4368" y="21867"/>
                      <a:pt x="9736" y="23962"/>
                      <a:pt x="14712" y="22129"/>
                    </a:cubicBezTo>
                    <a:cubicBezTo>
                      <a:pt x="19163" y="20689"/>
                      <a:pt x="23091" y="15059"/>
                      <a:pt x="21389" y="10084"/>
                    </a:cubicBezTo>
                    <a:lnTo>
                      <a:pt x="21389" y="10084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iṧḷîḋe"/>
              <p:cNvSpPr/>
              <p:nvPr/>
            </p:nvSpPr>
            <p:spPr>
              <a:xfrm>
                <a:off x="7458239" y="-1390511"/>
                <a:ext cx="18496" cy="19335"/>
              </a:xfrm>
              <a:custGeom>
                <a:avLst/>
                <a:gdLst>
                  <a:gd name="connsiteX0" fmla="*/ 10634 w 18496"/>
                  <a:gd name="connsiteY0" fmla="*/ 18655 h 19335"/>
                  <a:gd name="connsiteX1" fmla="*/ 12074 w 18496"/>
                  <a:gd name="connsiteY1" fmla="*/ 18132 h 19335"/>
                  <a:gd name="connsiteX2" fmla="*/ 12729 w 18496"/>
                  <a:gd name="connsiteY2" fmla="*/ 1634 h 19335"/>
                  <a:gd name="connsiteX3" fmla="*/ 11289 w 18496"/>
                  <a:gd name="connsiteY3" fmla="*/ 979 h 19335"/>
                  <a:gd name="connsiteX4" fmla="*/ 10634 w 18496"/>
                  <a:gd name="connsiteY4" fmla="*/ 18655 h 19335"/>
                  <a:gd name="connsiteX5" fmla="*/ 10634 w 18496"/>
                  <a:gd name="connsiteY5" fmla="*/ 18655 h 19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496" h="19335">
                    <a:moveTo>
                      <a:pt x="10634" y="18655"/>
                    </a:moveTo>
                    <a:cubicBezTo>
                      <a:pt x="11158" y="18524"/>
                      <a:pt x="11551" y="18262"/>
                      <a:pt x="12074" y="18132"/>
                    </a:cubicBezTo>
                    <a:cubicBezTo>
                      <a:pt x="20323" y="15120"/>
                      <a:pt x="20716" y="5300"/>
                      <a:pt x="12729" y="1634"/>
                    </a:cubicBezTo>
                    <a:cubicBezTo>
                      <a:pt x="12206" y="1372"/>
                      <a:pt x="11813" y="1241"/>
                      <a:pt x="11289" y="979"/>
                    </a:cubicBezTo>
                    <a:cubicBezTo>
                      <a:pt x="-2983" y="-5698"/>
                      <a:pt x="-4292" y="24155"/>
                      <a:pt x="10634" y="18655"/>
                    </a:cubicBezTo>
                    <a:lnTo>
                      <a:pt x="10634" y="18655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iS1ïḍé"/>
              <p:cNvSpPr/>
              <p:nvPr/>
            </p:nvSpPr>
            <p:spPr>
              <a:xfrm>
                <a:off x="7314239" y="-1363776"/>
                <a:ext cx="17810" cy="25059"/>
              </a:xfrm>
              <a:custGeom>
                <a:avLst/>
                <a:gdLst>
                  <a:gd name="connsiteX0" fmla="*/ 3 w 17810"/>
                  <a:gd name="connsiteY0" fmla="*/ 7371 h 25059"/>
                  <a:gd name="connsiteX1" fmla="*/ 3801 w 17810"/>
                  <a:gd name="connsiteY1" fmla="*/ 22559 h 25059"/>
                  <a:gd name="connsiteX2" fmla="*/ 10347 w 17810"/>
                  <a:gd name="connsiteY2" fmla="*/ 25047 h 25059"/>
                  <a:gd name="connsiteX3" fmla="*/ 16239 w 17810"/>
                  <a:gd name="connsiteY3" fmla="*/ 21512 h 25059"/>
                  <a:gd name="connsiteX4" fmla="*/ 17417 w 17810"/>
                  <a:gd name="connsiteY4" fmla="*/ 11823 h 25059"/>
                  <a:gd name="connsiteX5" fmla="*/ 15453 w 17810"/>
                  <a:gd name="connsiteY5" fmla="*/ 5931 h 25059"/>
                  <a:gd name="connsiteX6" fmla="*/ 7205 w 17810"/>
                  <a:gd name="connsiteY6" fmla="*/ 39 h 25059"/>
                  <a:gd name="connsiteX7" fmla="*/ 3 w 17810"/>
                  <a:gd name="connsiteY7" fmla="*/ 7371 h 25059"/>
                  <a:gd name="connsiteX8" fmla="*/ 3 w 17810"/>
                  <a:gd name="connsiteY8" fmla="*/ 7371 h 25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810" h="25059">
                    <a:moveTo>
                      <a:pt x="3" y="7371"/>
                    </a:moveTo>
                    <a:cubicBezTo>
                      <a:pt x="265" y="12347"/>
                      <a:pt x="-389" y="18893"/>
                      <a:pt x="3801" y="22559"/>
                    </a:cubicBezTo>
                    <a:cubicBezTo>
                      <a:pt x="5764" y="24261"/>
                      <a:pt x="7728" y="25178"/>
                      <a:pt x="10347" y="25047"/>
                    </a:cubicBezTo>
                    <a:cubicBezTo>
                      <a:pt x="12573" y="24785"/>
                      <a:pt x="15192" y="23607"/>
                      <a:pt x="16239" y="21512"/>
                    </a:cubicBezTo>
                    <a:cubicBezTo>
                      <a:pt x="17810" y="18370"/>
                      <a:pt x="18203" y="15227"/>
                      <a:pt x="17417" y="11823"/>
                    </a:cubicBezTo>
                    <a:cubicBezTo>
                      <a:pt x="16894" y="9859"/>
                      <a:pt x="16108" y="7895"/>
                      <a:pt x="15453" y="5931"/>
                    </a:cubicBezTo>
                    <a:cubicBezTo>
                      <a:pt x="14144" y="2265"/>
                      <a:pt x="11263" y="-354"/>
                      <a:pt x="7205" y="39"/>
                    </a:cubicBezTo>
                    <a:cubicBezTo>
                      <a:pt x="3538" y="432"/>
                      <a:pt x="-128" y="3574"/>
                      <a:pt x="3" y="7371"/>
                    </a:cubicBezTo>
                    <a:lnTo>
                      <a:pt x="3" y="7371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6" name="图形 7"/>
            <p:cNvGrpSpPr/>
            <p:nvPr/>
          </p:nvGrpSpPr>
          <p:grpSpPr>
            <a:xfrm>
              <a:off x="7599282" y="-392628"/>
              <a:ext cx="1271106" cy="1022204"/>
              <a:chOff x="7599282" y="-392628"/>
              <a:chExt cx="1271106" cy="1022204"/>
            </a:xfrm>
            <a:solidFill>
              <a:srgbClr val="009EE3"/>
            </a:solidFill>
          </p:grpSpPr>
          <p:sp>
            <p:nvSpPr>
              <p:cNvPr id="59" name="îśḻîḍe"/>
              <p:cNvSpPr/>
              <p:nvPr/>
            </p:nvSpPr>
            <p:spPr>
              <a:xfrm>
                <a:off x="7599282" y="-325444"/>
                <a:ext cx="1024414" cy="955020"/>
              </a:xfrm>
              <a:custGeom>
                <a:avLst/>
                <a:gdLst>
                  <a:gd name="connsiteX0" fmla="*/ 0 w 1024414"/>
                  <a:gd name="connsiteY0" fmla="*/ 955021 h 955020"/>
                  <a:gd name="connsiteX1" fmla="*/ 176759 w 1024414"/>
                  <a:gd name="connsiteY1" fmla="*/ 908147 h 955020"/>
                  <a:gd name="connsiteX2" fmla="*/ 344483 w 1024414"/>
                  <a:gd name="connsiteY2" fmla="*/ 833253 h 955020"/>
                  <a:gd name="connsiteX3" fmla="*/ 643663 w 1024414"/>
                  <a:gd name="connsiteY3" fmla="*/ 619179 h 955020"/>
                  <a:gd name="connsiteX4" fmla="*/ 708999 w 1024414"/>
                  <a:gd name="connsiteY4" fmla="*/ 553975 h 955020"/>
                  <a:gd name="connsiteX5" fmla="*/ 739768 w 1024414"/>
                  <a:gd name="connsiteY5" fmla="*/ 519540 h 955020"/>
                  <a:gd name="connsiteX6" fmla="*/ 754956 w 1024414"/>
                  <a:gd name="connsiteY6" fmla="*/ 502256 h 955020"/>
                  <a:gd name="connsiteX7" fmla="*/ 769490 w 1024414"/>
                  <a:gd name="connsiteY7" fmla="*/ 484319 h 955020"/>
                  <a:gd name="connsiteX8" fmla="*/ 876068 w 1024414"/>
                  <a:gd name="connsiteY8" fmla="*/ 334139 h 955020"/>
                  <a:gd name="connsiteX9" fmla="*/ 1024415 w 1024414"/>
                  <a:gd name="connsiteY9" fmla="*/ 0 h 955020"/>
                  <a:gd name="connsiteX10" fmla="*/ 846085 w 1024414"/>
                  <a:gd name="connsiteY10" fmla="*/ 314500 h 955020"/>
                  <a:gd name="connsiteX11" fmla="*/ 736102 w 1024414"/>
                  <a:gd name="connsiteY11" fmla="*/ 456299 h 955020"/>
                  <a:gd name="connsiteX12" fmla="*/ 721568 w 1024414"/>
                  <a:gd name="connsiteY12" fmla="*/ 473321 h 955020"/>
                  <a:gd name="connsiteX13" fmla="*/ 706511 w 1024414"/>
                  <a:gd name="connsiteY13" fmla="*/ 489949 h 955020"/>
                  <a:gd name="connsiteX14" fmla="*/ 676135 w 1024414"/>
                  <a:gd name="connsiteY14" fmla="*/ 522813 h 955020"/>
                  <a:gd name="connsiteX15" fmla="*/ 644711 w 1024414"/>
                  <a:gd name="connsiteY15" fmla="*/ 554760 h 955020"/>
                  <a:gd name="connsiteX16" fmla="*/ 636855 w 1024414"/>
                  <a:gd name="connsiteY16" fmla="*/ 562747 h 955020"/>
                  <a:gd name="connsiteX17" fmla="*/ 628737 w 1024414"/>
                  <a:gd name="connsiteY17" fmla="*/ 570472 h 955020"/>
                  <a:gd name="connsiteX18" fmla="*/ 612371 w 1024414"/>
                  <a:gd name="connsiteY18" fmla="*/ 585791 h 955020"/>
                  <a:gd name="connsiteX19" fmla="*/ 327069 w 1024414"/>
                  <a:gd name="connsiteY19" fmla="*/ 802222 h 955020"/>
                  <a:gd name="connsiteX20" fmla="*/ 288313 w 1024414"/>
                  <a:gd name="connsiteY20" fmla="*/ 825005 h 955020"/>
                  <a:gd name="connsiteX21" fmla="*/ 248903 w 1024414"/>
                  <a:gd name="connsiteY21" fmla="*/ 846870 h 955020"/>
                  <a:gd name="connsiteX22" fmla="*/ 168379 w 1024414"/>
                  <a:gd name="connsiteY22" fmla="*/ 887590 h 955020"/>
                  <a:gd name="connsiteX23" fmla="*/ 0 w 1024414"/>
                  <a:gd name="connsiteY23" fmla="*/ 955021 h 955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024414" h="955020">
                    <a:moveTo>
                      <a:pt x="0" y="955021"/>
                    </a:moveTo>
                    <a:cubicBezTo>
                      <a:pt x="60360" y="946248"/>
                      <a:pt x="119149" y="928441"/>
                      <a:pt x="176759" y="908147"/>
                    </a:cubicBezTo>
                    <a:cubicBezTo>
                      <a:pt x="234238" y="887067"/>
                      <a:pt x="290277" y="862190"/>
                      <a:pt x="344483" y="833253"/>
                    </a:cubicBezTo>
                    <a:cubicBezTo>
                      <a:pt x="453026" y="775905"/>
                      <a:pt x="554106" y="703630"/>
                      <a:pt x="643663" y="619179"/>
                    </a:cubicBezTo>
                    <a:cubicBezTo>
                      <a:pt x="666315" y="598361"/>
                      <a:pt x="687526" y="575971"/>
                      <a:pt x="708999" y="553975"/>
                    </a:cubicBezTo>
                    <a:cubicBezTo>
                      <a:pt x="719473" y="542584"/>
                      <a:pt x="729424" y="530931"/>
                      <a:pt x="739768" y="519540"/>
                    </a:cubicBezTo>
                    <a:cubicBezTo>
                      <a:pt x="744874" y="513779"/>
                      <a:pt x="750112" y="508149"/>
                      <a:pt x="754956" y="502256"/>
                    </a:cubicBezTo>
                    <a:lnTo>
                      <a:pt x="769490" y="484319"/>
                    </a:lnTo>
                    <a:cubicBezTo>
                      <a:pt x="808769" y="436921"/>
                      <a:pt x="843728" y="386250"/>
                      <a:pt x="876068" y="334139"/>
                    </a:cubicBezTo>
                    <a:cubicBezTo>
                      <a:pt x="939963" y="229394"/>
                      <a:pt x="990503" y="116923"/>
                      <a:pt x="1024415" y="0"/>
                    </a:cubicBezTo>
                    <a:cubicBezTo>
                      <a:pt x="972565" y="110114"/>
                      <a:pt x="914039" y="215646"/>
                      <a:pt x="846085" y="314500"/>
                    </a:cubicBezTo>
                    <a:cubicBezTo>
                      <a:pt x="811126" y="363206"/>
                      <a:pt x="775643" y="411390"/>
                      <a:pt x="736102" y="456299"/>
                    </a:cubicBezTo>
                    <a:lnTo>
                      <a:pt x="721568" y="473321"/>
                    </a:lnTo>
                    <a:cubicBezTo>
                      <a:pt x="716724" y="478951"/>
                      <a:pt x="711486" y="484319"/>
                      <a:pt x="706511" y="489949"/>
                    </a:cubicBezTo>
                    <a:cubicBezTo>
                      <a:pt x="696299" y="500947"/>
                      <a:pt x="686348" y="512076"/>
                      <a:pt x="676135" y="522813"/>
                    </a:cubicBezTo>
                    <a:lnTo>
                      <a:pt x="644711" y="554760"/>
                    </a:lnTo>
                    <a:lnTo>
                      <a:pt x="636855" y="562747"/>
                    </a:lnTo>
                    <a:lnTo>
                      <a:pt x="628737" y="570472"/>
                    </a:lnTo>
                    <a:lnTo>
                      <a:pt x="612371" y="585791"/>
                    </a:lnTo>
                    <a:cubicBezTo>
                      <a:pt x="525563" y="667886"/>
                      <a:pt x="429458" y="739899"/>
                      <a:pt x="327069" y="802222"/>
                    </a:cubicBezTo>
                    <a:cubicBezTo>
                      <a:pt x="314369" y="810209"/>
                      <a:pt x="301275" y="817673"/>
                      <a:pt x="288313" y="825005"/>
                    </a:cubicBezTo>
                    <a:cubicBezTo>
                      <a:pt x="275351" y="832599"/>
                      <a:pt x="261996" y="839538"/>
                      <a:pt x="248903" y="846870"/>
                    </a:cubicBezTo>
                    <a:cubicBezTo>
                      <a:pt x="222585" y="861273"/>
                      <a:pt x="195613" y="874628"/>
                      <a:pt x="168379" y="887590"/>
                    </a:cubicBezTo>
                    <a:cubicBezTo>
                      <a:pt x="113650" y="913122"/>
                      <a:pt x="57872" y="936428"/>
                      <a:pt x="0" y="955021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ïṥlîďe"/>
              <p:cNvSpPr/>
              <p:nvPr/>
            </p:nvSpPr>
            <p:spPr>
              <a:xfrm>
                <a:off x="8376234" y="-20110"/>
                <a:ext cx="427101" cy="137858"/>
              </a:xfrm>
              <a:custGeom>
                <a:avLst/>
                <a:gdLst>
                  <a:gd name="connsiteX0" fmla="*/ 0 w 427101"/>
                  <a:gd name="connsiteY0" fmla="*/ 128707 h 137858"/>
                  <a:gd name="connsiteX1" fmla="*/ 115482 w 427101"/>
                  <a:gd name="connsiteY1" fmla="*/ 137348 h 137858"/>
                  <a:gd name="connsiteX2" fmla="*/ 230703 w 427101"/>
                  <a:gd name="connsiteY2" fmla="*/ 119934 h 137858"/>
                  <a:gd name="connsiteX3" fmla="*/ 258722 w 427101"/>
                  <a:gd name="connsiteY3" fmla="*/ 111554 h 137858"/>
                  <a:gd name="connsiteX4" fmla="*/ 286218 w 427101"/>
                  <a:gd name="connsiteY4" fmla="*/ 101211 h 137858"/>
                  <a:gd name="connsiteX5" fmla="*/ 338722 w 427101"/>
                  <a:gd name="connsiteY5" fmla="*/ 75155 h 137858"/>
                  <a:gd name="connsiteX6" fmla="*/ 427102 w 427101"/>
                  <a:gd name="connsiteY6" fmla="*/ 0 h 137858"/>
                  <a:gd name="connsiteX7" fmla="*/ 329950 w 427101"/>
                  <a:gd name="connsiteY7" fmla="*/ 58789 h 137858"/>
                  <a:gd name="connsiteX8" fmla="*/ 317118 w 427101"/>
                  <a:gd name="connsiteY8" fmla="*/ 64550 h 137858"/>
                  <a:gd name="connsiteX9" fmla="*/ 304287 w 427101"/>
                  <a:gd name="connsiteY9" fmla="*/ 70180 h 137858"/>
                  <a:gd name="connsiteX10" fmla="*/ 278101 w 427101"/>
                  <a:gd name="connsiteY10" fmla="*/ 80262 h 137858"/>
                  <a:gd name="connsiteX11" fmla="*/ 224549 w 427101"/>
                  <a:gd name="connsiteY11" fmla="*/ 97021 h 137858"/>
                  <a:gd name="connsiteX12" fmla="*/ 113911 w 427101"/>
                  <a:gd name="connsiteY12" fmla="*/ 119017 h 137858"/>
                  <a:gd name="connsiteX13" fmla="*/ 0 w 427101"/>
                  <a:gd name="connsiteY13" fmla="*/ 128707 h 137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27101" h="137858">
                    <a:moveTo>
                      <a:pt x="0" y="128707"/>
                    </a:moveTo>
                    <a:cubicBezTo>
                      <a:pt x="37709" y="137086"/>
                      <a:pt x="76727" y="138919"/>
                      <a:pt x="115482" y="137348"/>
                    </a:cubicBezTo>
                    <a:cubicBezTo>
                      <a:pt x="154238" y="135646"/>
                      <a:pt x="192995" y="130147"/>
                      <a:pt x="230703" y="119934"/>
                    </a:cubicBezTo>
                    <a:cubicBezTo>
                      <a:pt x="240130" y="117446"/>
                      <a:pt x="249426" y="114435"/>
                      <a:pt x="258722" y="111554"/>
                    </a:cubicBezTo>
                    <a:cubicBezTo>
                      <a:pt x="267888" y="108150"/>
                      <a:pt x="277184" y="105139"/>
                      <a:pt x="286218" y="101211"/>
                    </a:cubicBezTo>
                    <a:cubicBezTo>
                      <a:pt x="304287" y="93617"/>
                      <a:pt x="321963" y="85237"/>
                      <a:pt x="338722" y="75155"/>
                    </a:cubicBezTo>
                    <a:cubicBezTo>
                      <a:pt x="372503" y="55515"/>
                      <a:pt x="402879" y="29983"/>
                      <a:pt x="427102" y="0"/>
                    </a:cubicBezTo>
                    <a:cubicBezTo>
                      <a:pt x="396070" y="22913"/>
                      <a:pt x="363992" y="42815"/>
                      <a:pt x="329950" y="58789"/>
                    </a:cubicBezTo>
                    <a:cubicBezTo>
                      <a:pt x="325760" y="60883"/>
                      <a:pt x="321439" y="62848"/>
                      <a:pt x="317118" y="64550"/>
                    </a:cubicBezTo>
                    <a:lnTo>
                      <a:pt x="304287" y="70180"/>
                    </a:lnTo>
                    <a:cubicBezTo>
                      <a:pt x="295514" y="73584"/>
                      <a:pt x="287004" y="77250"/>
                      <a:pt x="278101" y="80262"/>
                    </a:cubicBezTo>
                    <a:cubicBezTo>
                      <a:pt x="260556" y="86677"/>
                      <a:pt x="242618" y="92307"/>
                      <a:pt x="224549" y="97021"/>
                    </a:cubicBezTo>
                    <a:cubicBezTo>
                      <a:pt x="188412" y="106841"/>
                      <a:pt x="151358" y="113911"/>
                      <a:pt x="113911" y="119017"/>
                    </a:cubicBezTo>
                    <a:cubicBezTo>
                      <a:pt x="76334" y="123862"/>
                      <a:pt x="38494" y="127135"/>
                      <a:pt x="0" y="128707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íšḷiḓé"/>
              <p:cNvSpPr/>
              <p:nvPr/>
            </p:nvSpPr>
            <p:spPr>
              <a:xfrm>
                <a:off x="8275320" y="-230649"/>
                <a:ext cx="93188" cy="442289"/>
              </a:xfrm>
              <a:custGeom>
                <a:avLst/>
                <a:gdLst>
                  <a:gd name="connsiteX0" fmla="*/ 93189 w 93188"/>
                  <a:gd name="connsiteY0" fmla="*/ 0 h 442289"/>
                  <a:gd name="connsiteX1" fmla="*/ 37673 w 93188"/>
                  <a:gd name="connsiteY1" fmla="*/ 101603 h 442289"/>
                  <a:gd name="connsiteX2" fmla="*/ 5988 w 93188"/>
                  <a:gd name="connsiteY2" fmla="*/ 213813 h 442289"/>
                  <a:gd name="connsiteX3" fmla="*/ 2060 w 93188"/>
                  <a:gd name="connsiteY3" fmla="*/ 242880 h 442289"/>
                  <a:gd name="connsiteX4" fmla="*/ 227 w 93188"/>
                  <a:gd name="connsiteY4" fmla="*/ 272208 h 442289"/>
                  <a:gd name="connsiteX5" fmla="*/ 2321 w 93188"/>
                  <a:gd name="connsiteY5" fmla="*/ 330735 h 442289"/>
                  <a:gd name="connsiteX6" fmla="*/ 34269 w 93188"/>
                  <a:gd name="connsiteY6" fmla="*/ 442289 h 442289"/>
                  <a:gd name="connsiteX7" fmla="*/ 20914 w 93188"/>
                  <a:gd name="connsiteY7" fmla="*/ 329557 h 442289"/>
                  <a:gd name="connsiteX8" fmla="*/ 20914 w 93188"/>
                  <a:gd name="connsiteY8" fmla="*/ 315547 h 442289"/>
                  <a:gd name="connsiteX9" fmla="*/ 21045 w 93188"/>
                  <a:gd name="connsiteY9" fmla="*/ 301537 h 442289"/>
                  <a:gd name="connsiteX10" fmla="*/ 22747 w 93188"/>
                  <a:gd name="connsiteY10" fmla="*/ 273518 h 442289"/>
                  <a:gd name="connsiteX11" fmla="*/ 29556 w 93188"/>
                  <a:gd name="connsiteY11" fmla="*/ 217741 h 442289"/>
                  <a:gd name="connsiteX12" fmla="*/ 55218 w 93188"/>
                  <a:gd name="connsiteY12" fmla="*/ 107888 h 442289"/>
                  <a:gd name="connsiteX13" fmla="*/ 93189 w 93188"/>
                  <a:gd name="connsiteY13" fmla="*/ 0 h 442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3188" h="442289">
                    <a:moveTo>
                      <a:pt x="93189" y="0"/>
                    </a:moveTo>
                    <a:cubicBezTo>
                      <a:pt x="70014" y="30900"/>
                      <a:pt x="52207" y="65728"/>
                      <a:pt x="37673" y="101603"/>
                    </a:cubicBezTo>
                    <a:cubicBezTo>
                      <a:pt x="23271" y="137610"/>
                      <a:pt x="12272" y="175188"/>
                      <a:pt x="5988" y="213813"/>
                    </a:cubicBezTo>
                    <a:cubicBezTo>
                      <a:pt x="4286" y="223502"/>
                      <a:pt x="3238" y="233190"/>
                      <a:pt x="2060" y="242880"/>
                    </a:cubicBezTo>
                    <a:cubicBezTo>
                      <a:pt x="1274" y="252699"/>
                      <a:pt x="358" y="262388"/>
                      <a:pt x="227" y="272208"/>
                    </a:cubicBezTo>
                    <a:cubicBezTo>
                      <a:pt x="-297" y="291717"/>
                      <a:pt x="-35" y="311357"/>
                      <a:pt x="2321" y="330735"/>
                    </a:cubicBezTo>
                    <a:cubicBezTo>
                      <a:pt x="6380" y="369622"/>
                      <a:pt x="16986" y="407854"/>
                      <a:pt x="34269" y="442289"/>
                    </a:cubicBezTo>
                    <a:cubicBezTo>
                      <a:pt x="26282" y="404581"/>
                      <a:pt x="21307" y="367134"/>
                      <a:pt x="20914" y="329557"/>
                    </a:cubicBezTo>
                    <a:cubicBezTo>
                      <a:pt x="20783" y="324843"/>
                      <a:pt x="20783" y="320130"/>
                      <a:pt x="20914" y="315547"/>
                    </a:cubicBezTo>
                    <a:lnTo>
                      <a:pt x="21045" y="301537"/>
                    </a:lnTo>
                    <a:cubicBezTo>
                      <a:pt x="21569" y="292241"/>
                      <a:pt x="21831" y="282814"/>
                      <a:pt x="22747" y="273518"/>
                    </a:cubicBezTo>
                    <a:cubicBezTo>
                      <a:pt x="24187" y="254925"/>
                      <a:pt x="26413" y="236202"/>
                      <a:pt x="29556" y="217741"/>
                    </a:cubicBezTo>
                    <a:cubicBezTo>
                      <a:pt x="35578" y="180687"/>
                      <a:pt x="44351" y="144156"/>
                      <a:pt x="55218" y="107888"/>
                    </a:cubicBezTo>
                    <a:cubicBezTo>
                      <a:pt x="66086" y="71489"/>
                      <a:pt x="78655" y="35614"/>
                      <a:pt x="93189" y="0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í$ļiḑe"/>
              <p:cNvSpPr/>
              <p:nvPr/>
            </p:nvSpPr>
            <p:spPr>
              <a:xfrm>
                <a:off x="8736152" y="-87424"/>
                <a:ext cx="134236" cy="134236"/>
              </a:xfrm>
              <a:custGeom>
                <a:avLst/>
                <a:gdLst>
                  <a:gd name="connsiteX0" fmla="*/ 65612 w 134236"/>
                  <a:gd name="connsiteY0" fmla="*/ 15 h 134236"/>
                  <a:gd name="connsiteX1" fmla="*/ 15 w 134236"/>
                  <a:gd name="connsiteY1" fmla="*/ 68624 h 134236"/>
                  <a:gd name="connsiteX2" fmla="*/ 68624 w 134236"/>
                  <a:gd name="connsiteY2" fmla="*/ 134221 h 134236"/>
                  <a:gd name="connsiteX3" fmla="*/ 134221 w 134236"/>
                  <a:gd name="connsiteY3" fmla="*/ 65612 h 134236"/>
                  <a:gd name="connsiteX4" fmla="*/ 65612 w 134236"/>
                  <a:gd name="connsiteY4" fmla="*/ 15 h 134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236" h="134236">
                    <a:moveTo>
                      <a:pt x="65612" y="15"/>
                    </a:moveTo>
                    <a:cubicBezTo>
                      <a:pt x="28559" y="932"/>
                      <a:pt x="-770" y="31570"/>
                      <a:pt x="15" y="68624"/>
                    </a:cubicBezTo>
                    <a:cubicBezTo>
                      <a:pt x="932" y="105678"/>
                      <a:pt x="31570" y="135007"/>
                      <a:pt x="68624" y="134221"/>
                    </a:cubicBezTo>
                    <a:cubicBezTo>
                      <a:pt x="105678" y="133304"/>
                      <a:pt x="135007" y="102666"/>
                      <a:pt x="134221" y="65612"/>
                    </a:cubicBezTo>
                    <a:cubicBezTo>
                      <a:pt x="133436" y="28559"/>
                      <a:pt x="102666" y="-770"/>
                      <a:pt x="65612" y="15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ï$lîďê"/>
              <p:cNvSpPr/>
              <p:nvPr/>
            </p:nvSpPr>
            <p:spPr>
              <a:xfrm>
                <a:off x="8308003" y="-269164"/>
                <a:ext cx="134236" cy="134241"/>
              </a:xfrm>
              <a:custGeom>
                <a:avLst/>
                <a:gdLst>
                  <a:gd name="connsiteX0" fmla="*/ 65613 w 134236"/>
                  <a:gd name="connsiteY0" fmla="*/ 21 h 134241"/>
                  <a:gd name="connsiteX1" fmla="*/ 15 w 134236"/>
                  <a:gd name="connsiteY1" fmla="*/ 68630 h 134241"/>
                  <a:gd name="connsiteX2" fmla="*/ 68624 w 134236"/>
                  <a:gd name="connsiteY2" fmla="*/ 134227 h 134241"/>
                  <a:gd name="connsiteX3" fmla="*/ 134221 w 134236"/>
                  <a:gd name="connsiteY3" fmla="*/ 65618 h 134241"/>
                  <a:gd name="connsiteX4" fmla="*/ 65613 w 134236"/>
                  <a:gd name="connsiteY4" fmla="*/ 21 h 134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236" h="134241">
                    <a:moveTo>
                      <a:pt x="65613" y="21"/>
                    </a:moveTo>
                    <a:cubicBezTo>
                      <a:pt x="28559" y="938"/>
                      <a:pt x="-770" y="31576"/>
                      <a:pt x="15" y="68630"/>
                    </a:cubicBezTo>
                    <a:cubicBezTo>
                      <a:pt x="932" y="105683"/>
                      <a:pt x="31570" y="135012"/>
                      <a:pt x="68624" y="134227"/>
                    </a:cubicBezTo>
                    <a:cubicBezTo>
                      <a:pt x="105678" y="133310"/>
                      <a:pt x="135007" y="102672"/>
                      <a:pt x="134221" y="65618"/>
                    </a:cubicBezTo>
                    <a:cubicBezTo>
                      <a:pt x="133304" y="28433"/>
                      <a:pt x="102666" y="-896"/>
                      <a:pt x="65613" y="21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iś1îďê"/>
              <p:cNvSpPr/>
              <p:nvPr/>
            </p:nvSpPr>
            <p:spPr>
              <a:xfrm>
                <a:off x="8556382" y="-392628"/>
                <a:ext cx="134236" cy="134236"/>
              </a:xfrm>
              <a:custGeom>
                <a:avLst/>
                <a:gdLst>
                  <a:gd name="connsiteX0" fmla="*/ 65613 w 134236"/>
                  <a:gd name="connsiteY0" fmla="*/ 15 h 134236"/>
                  <a:gd name="connsiteX1" fmla="*/ 15 w 134236"/>
                  <a:gd name="connsiteY1" fmla="*/ 68624 h 134236"/>
                  <a:gd name="connsiteX2" fmla="*/ 68624 w 134236"/>
                  <a:gd name="connsiteY2" fmla="*/ 134221 h 134236"/>
                  <a:gd name="connsiteX3" fmla="*/ 134221 w 134236"/>
                  <a:gd name="connsiteY3" fmla="*/ 65612 h 134236"/>
                  <a:gd name="connsiteX4" fmla="*/ 65613 w 134236"/>
                  <a:gd name="connsiteY4" fmla="*/ 15 h 134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236" h="134236">
                    <a:moveTo>
                      <a:pt x="65613" y="15"/>
                    </a:moveTo>
                    <a:cubicBezTo>
                      <a:pt x="28559" y="932"/>
                      <a:pt x="-770" y="31570"/>
                      <a:pt x="15" y="68624"/>
                    </a:cubicBezTo>
                    <a:cubicBezTo>
                      <a:pt x="932" y="105678"/>
                      <a:pt x="31570" y="135007"/>
                      <a:pt x="68624" y="134221"/>
                    </a:cubicBezTo>
                    <a:cubicBezTo>
                      <a:pt x="105678" y="133304"/>
                      <a:pt x="135007" y="102666"/>
                      <a:pt x="134221" y="65612"/>
                    </a:cubicBezTo>
                    <a:cubicBezTo>
                      <a:pt x="133436" y="28559"/>
                      <a:pt x="102666" y="-770"/>
                      <a:pt x="65613" y="15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7" name="图形 7"/>
            <p:cNvGrpSpPr/>
            <p:nvPr/>
          </p:nvGrpSpPr>
          <p:grpSpPr>
            <a:xfrm>
              <a:off x="6231399" y="263194"/>
              <a:ext cx="2494293" cy="2207813"/>
              <a:chOff x="6231399" y="263194"/>
              <a:chExt cx="2494293" cy="2207813"/>
            </a:xfrm>
            <a:solidFill>
              <a:schemeClr val="accent1"/>
            </a:solidFill>
          </p:grpSpPr>
          <p:grpSp>
            <p:nvGrpSpPr>
              <p:cNvPr id="54" name="图形 7"/>
              <p:cNvGrpSpPr/>
              <p:nvPr/>
            </p:nvGrpSpPr>
            <p:grpSpPr>
              <a:xfrm>
                <a:off x="6231399" y="263194"/>
                <a:ext cx="2494293" cy="2207813"/>
                <a:chOff x="6231399" y="263194"/>
                <a:chExt cx="2494293" cy="2207813"/>
              </a:xfrm>
              <a:solidFill>
                <a:schemeClr val="accent1"/>
              </a:solidFill>
            </p:grpSpPr>
            <p:sp>
              <p:nvSpPr>
                <p:cNvPr id="57" name="ïŝḻiḑe"/>
                <p:cNvSpPr/>
                <p:nvPr/>
              </p:nvSpPr>
              <p:spPr>
                <a:xfrm>
                  <a:off x="6231399" y="263194"/>
                  <a:ext cx="2494293" cy="2207813"/>
                </a:xfrm>
                <a:custGeom>
                  <a:avLst/>
                  <a:gdLst>
                    <a:gd name="connsiteX0" fmla="*/ 2295277 w 2494293"/>
                    <a:gd name="connsiteY0" fmla="*/ 199050 h 2207813"/>
                    <a:gd name="connsiteX1" fmla="*/ 2295277 w 2494293"/>
                    <a:gd name="connsiteY1" fmla="*/ 199050 h 2207813"/>
                    <a:gd name="connsiteX2" fmla="*/ 1334364 w 2494293"/>
                    <a:gd name="connsiteY2" fmla="*/ 199050 h 2207813"/>
                    <a:gd name="connsiteX3" fmla="*/ 1247163 w 2494293"/>
                    <a:gd name="connsiteY3" fmla="*/ 286251 h 2207813"/>
                    <a:gd name="connsiteX4" fmla="*/ 1159962 w 2494293"/>
                    <a:gd name="connsiteY4" fmla="*/ 199050 h 2207813"/>
                    <a:gd name="connsiteX5" fmla="*/ 199050 w 2494293"/>
                    <a:gd name="connsiteY5" fmla="*/ 199050 h 2207813"/>
                    <a:gd name="connsiteX6" fmla="*/ 199050 w 2494293"/>
                    <a:gd name="connsiteY6" fmla="*/ 199050 h 2207813"/>
                    <a:gd name="connsiteX7" fmla="*/ 199050 w 2494293"/>
                    <a:gd name="connsiteY7" fmla="*/ 1159963 h 2207813"/>
                    <a:gd name="connsiteX8" fmla="*/ 1246901 w 2494293"/>
                    <a:gd name="connsiteY8" fmla="*/ 2207814 h 2207813"/>
                    <a:gd name="connsiteX9" fmla="*/ 1247033 w 2494293"/>
                    <a:gd name="connsiteY9" fmla="*/ 2207683 h 2207813"/>
                    <a:gd name="connsiteX10" fmla="*/ 1247163 w 2494293"/>
                    <a:gd name="connsiteY10" fmla="*/ 2207814 h 2207813"/>
                    <a:gd name="connsiteX11" fmla="*/ 2295015 w 2494293"/>
                    <a:gd name="connsiteY11" fmla="*/ 1159963 h 2207813"/>
                    <a:gd name="connsiteX12" fmla="*/ 2295277 w 2494293"/>
                    <a:gd name="connsiteY12" fmla="*/ 199050 h 2207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494293" h="2207813">
                      <a:moveTo>
                        <a:pt x="2295277" y="199050"/>
                      </a:moveTo>
                      <a:lnTo>
                        <a:pt x="2295277" y="199050"/>
                      </a:lnTo>
                      <a:cubicBezTo>
                        <a:pt x="2029877" y="-66350"/>
                        <a:pt x="1599764" y="-66350"/>
                        <a:pt x="1334364" y="199050"/>
                      </a:cubicBezTo>
                      <a:lnTo>
                        <a:pt x="1247163" y="286251"/>
                      </a:lnTo>
                      <a:lnTo>
                        <a:pt x="1159962" y="199050"/>
                      </a:lnTo>
                      <a:cubicBezTo>
                        <a:pt x="894562" y="-66350"/>
                        <a:pt x="464450" y="-66350"/>
                        <a:pt x="199050" y="199050"/>
                      </a:cubicBezTo>
                      <a:lnTo>
                        <a:pt x="199050" y="199050"/>
                      </a:lnTo>
                      <a:cubicBezTo>
                        <a:pt x="-66350" y="464450"/>
                        <a:pt x="-66350" y="894562"/>
                        <a:pt x="199050" y="1159963"/>
                      </a:cubicBezTo>
                      <a:lnTo>
                        <a:pt x="1246901" y="2207814"/>
                      </a:lnTo>
                      <a:lnTo>
                        <a:pt x="1247033" y="2207683"/>
                      </a:lnTo>
                      <a:lnTo>
                        <a:pt x="1247163" y="2207814"/>
                      </a:lnTo>
                      <a:lnTo>
                        <a:pt x="2295015" y="1159963"/>
                      </a:lnTo>
                      <a:cubicBezTo>
                        <a:pt x="2560677" y="894562"/>
                        <a:pt x="2560677" y="464319"/>
                        <a:pt x="2295277" y="199050"/>
                      </a:cubicBezTo>
                      <a:close/>
                    </a:path>
                  </a:pathLst>
                </a:custGeom>
                <a:solidFill>
                  <a:srgbClr val="EF4A50"/>
                </a:solidFill>
                <a:ln w="130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8" name="íṩḻîḍè"/>
                <p:cNvSpPr/>
                <p:nvPr/>
              </p:nvSpPr>
              <p:spPr>
                <a:xfrm>
                  <a:off x="7087205" y="883846"/>
                  <a:ext cx="782975" cy="783106"/>
                </a:xfrm>
                <a:custGeom>
                  <a:avLst/>
                  <a:gdLst>
                    <a:gd name="connsiteX0" fmla="*/ 782975 w 782975"/>
                    <a:gd name="connsiteY0" fmla="*/ 270637 h 783106"/>
                    <a:gd name="connsiteX1" fmla="*/ 512338 w 782975"/>
                    <a:gd name="connsiteY1" fmla="*/ 270637 h 783106"/>
                    <a:gd name="connsiteX2" fmla="*/ 512338 w 782975"/>
                    <a:gd name="connsiteY2" fmla="*/ 0 h 783106"/>
                    <a:gd name="connsiteX3" fmla="*/ 270637 w 782975"/>
                    <a:gd name="connsiteY3" fmla="*/ 0 h 783106"/>
                    <a:gd name="connsiteX4" fmla="*/ 270637 w 782975"/>
                    <a:gd name="connsiteY4" fmla="*/ 270637 h 783106"/>
                    <a:gd name="connsiteX5" fmla="*/ 0 w 782975"/>
                    <a:gd name="connsiteY5" fmla="*/ 270637 h 783106"/>
                    <a:gd name="connsiteX6" fmla="*/ 0 w 782975"/>
                    <a:gd name="connsiteY6" fmla="*/ 512469 h 783106"/>
                    <a:gd name="connsiteX7" fmla="*/ 270637 w 782975"/>
                    <a:gd name="connsiteY7" fmla="*/ 512469 h 783106"/>
                    <a:gd name="connsiteX8" fmla="*/ 270637 w 782975"/>
                    <a:gd name="connsiteY8" fmla="*/ 783106 h 783106"/>
                    <a:gd name="connsiteX9" fmla="*/ 512338 w 782975"/>
                    <a:gd name="connsiteY9" fmla="*/ 783106 h 783106"/>
                    <a:gd name="connsiteX10" fmla="*/ 512338 w 782975"/>
                    <a:gd name="connsiteY10" fmla="*/ 512469 h 783106"/>
                    <a:gd name="connsiteX11" fmla="*/ 782975 w 782975"/>
                    <a:gd name="connsiteY11" fmla="*/ 512469 h 7831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782975" h="783106">
                      <a:moveTo>
                        <a:pt x="782975" y="270637"/>
                      </a:moveTo>
                      <a:lnTo>
                        <a:pt x="512338" y="270637"/>
                      </a:lnTo>
                      <a:lnTo>
                        <a:pt x="512338" y="0"/>
                      </a:lnTo>
                      <a:lnTo>
                        <a:pt x="270637" y="0"/>
                      </a:lnTo>
                      <a:lnTo>
                        <a:pt x="270637" y="270637"/>
                      </a:lnTo>
                      <a:lnTo>
                        <a:pt x="0" y="270637"/>
                      </a:lnTo>
                      <a:lnTo>
                        <a:pt x="0" y="512469"/>
                      </a:lnTo>
                      <a:lnTo>
                        <a:pt x="270637" y="512469"/>
                      </a:lnTo>
                      <a:lnTo>
                        <a:pt x="270637" y="783106"/>
                      </a:lnTo>
                      <a:lnTo>
                        <a:pt x="512338" y="783106"/>
                      </a:lnTo>
                      <a:lnTo>
                        <a:pt x="512338" y="512469"/>
                      </a:lnTo>
                      <a:lnTo>
                        <a:pt x="782975" y="51246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30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5" name="íşlîḍe"/>
              <p:cNvSpPr/>
              <p:nvPr/>
            </p:nvSpPr>
            <p:spPr>
              <a:xfrm>
                <a:off x="6430006" y="358819"/>
                <a:ext cx="557159" cy="550932"/>
              </a:xfrm>
              <a:custGeom>
                <a:avLst/>
                <a:gdLst>
                  <a:gd name="connsiteX0" fmla="*/ 311669 w 557159"/>
                  <a:gd name="connsiteY0" fmla="*/ 230298 h 550932"/>
                  <a:gd name="connsiteX1" fmla="*/ 320703 w 557159"/>
                  <a:gd name="connsiteY1" fmla="*/ 224668 h 550932"/>
                  <a:gd name="connsiteX2" fmla="*/ 548394 w 557159"/>
                  <a:gd name="connsiteY2" fmla="*/ 39006 h 550932"/>
                  <a:gd name="connsiteX3" fmla="*/ 227217 w 557159"/>
                  <a:gd name="connsiteY3" fmla="*/ 93997 h 550932"/>
                  <a:gd name="connsiteX4" fmla="*/ 5287 w 557159"/>
                  <a:gd name="connsiteY4" fmla="*/ 426958 h 550932"/>
                  <a:gd name="connsiteX5" fmla="*/ 147480 w 557159"/>
                  <a:gd name="connsiteY5" fmla="*/ 476320 h 550932"/>
                  <a:gd name="connsiteX6" fmla="*/ 311669 w 557159"/>
                  <a:gd name="connsiteY6" fmla="*/ 230298 h 550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7159" h="550932">
                    <a:moveTo>
                      <a:pt x="311669" y="230298"/>
                    </a:moveTo>
                    <a:cubicBezTo>
                      <a:pt x="314680" y="228334"/>
                      <a:pt x="317561" y="226501"/>
                      <a:pt x="320703" y="224668"/>
                    </a:cubicBezTo>
                    <a:cubicBezTo>
                      <a:pt x="379885" y="189316"/>
                      <a:pt x="603910" y="148989"/>
                      <a:pt x="548394" y="39006"/>
                    </a:cubicBezTo>
                    <a:cubicBezTo>
                      <a:pt x="498771" y="-59455"/>
                      <a:pt x="283780" y="54849"/>
                      <a:pt x="227217" y="93997"/>
                    </a:cubicBezTo>
                    <a:cubicBezTo>
                      <a:pt x="113699" y="172557"/>
                      <a:pt x="38937" y="294193"/>
                      <a:pt x="5287" y="426958"/>
                    </a:cubicBezTo>
                    <a:cubicBezTo>
                      <a:pt x="-28755" y="561164"/>
                      <a:pt x="111342" y="599527"/>
                      <a:pt x="147480" y="476320"/>
                    </a:cubicBezTo>
                    <a:cubicBezTo>
                      <a:pt x="175106" y="382048"/>
                      <a:pt x="225123" y="286337"/>
                      <a:pt x="311669" y="230298"/>
                    </a:cubicBezTo>
                    <a:close/>
                  </a:path>
                </a:pathLst>
              </a:custGeom>
              <a:solidFill>
                <a:srgbClr val="FFFFFF">
                  <a:alpha val="30000"/>
                </a:srgbClr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ïṩļïďè"/>
              <p:cNvSpPr/>
              <p:nvPr/>
            </p:nvSpPr>
            <p:spPr>
              <a:xfrm>
                <a:off x="6359483" y="975499"/>
                <a:ext cx="172830" cy="172830"/>
              </a:xfrm>
              <a:custGeom>
                <a:avLst/>
                <a:gdLst>
                  <a:gd name="connsiteX0" fmla="*/ 172831 w 172830"/>
                  <a:gd name="connsiteY0" fmla="*/ 86415 h 172830"/>
                  <a:gd name="connsiteX1" fmla="*/ 86415 w 172830"/>
                  <a:gd name="connsiteY1" fmla="*/ 172831 h 172830"/>
                  <a:gd name="connsiteX2" fmla="*/ 0 w 172830"/>
                  <a:gd name="connsiteY2" fmla="*/ 86415 h 172830"/>
                  <a:gd name="connsiteX3" fmla="*/ 86415 w 172830"/>
                  <a:gd name="connsiteY3" fmla="*/ 0 h 172830"/>
                  <a:gd name="connsiteX4" fmla="*/ 172831 w 172830"/>
                  <a:gd name="connsiteY4" fmla="*/ 86415 h 17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2830" h="172830">
                    <a:moveTo>
                      <a:pt x="172831" y="86415"/>
                    </a:moveTo>
                    <a:cubicBezTo>
                      <a:pt x="172831" y="134141"/>
                      <a:pt x="134141" y="172831"/>
                      <a:pt x="86415" y="172831"/>
                    </a:cubicBezTo>
                    <a:cubicBezTo>
                      <a:pt x="38689" y="172831"/>
                      <a:pt x="0" y="134141"/>
                      <a:pt x="0" y="86415"/>
                    </a:cubicBezTo>
                    <a:cubicBezTo>
                      <a:pt x="0" y="38689"/>
                      <a:pt x="38689" y="0"/>
                      <a:pt x="86415" y="0"/>
                    </a:cubicBezTo>
                    <a:cubicBezTo>
                      <a:pt x="134141" y="0"/>
                      <a:pt x="172831" y="38689"/>
                      <a:pt x="172831" y="86415"/>
                    </a:cubicBezTo>
                    <a:close/>
                  </a:path>
                </a:pathLst>
              </a:custGeom>
              <a:solidFill>
                <a:srgbClr val="FFFFFF">
                  <a:alpha val="30000"/>
                </a:srgbClr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8" name="图形 7"/>
            <p:cNvGrpSpPr/>
            <p:nvPr/>
          </p:nvGrpSpPr>
          <p:grpSpPr>
            <a:xfrm>
              <a:off x="7670884" y="1541630"/>
              <a:ext cx="1319631" cy="736915"/>
              <a:chOff x="7670884" y="1541630"/>
              <a:chExt cx="1319631" cy="736915"/>
            </a:xfrm>
            <a:solidFill>
              <a:srgbClr val="FFFFFF"/>
            </a:solidFill>
          </p:grpSpPr>
          <p:sp>
            <p:nvSpPr>
              <p:cNvPr id="30" name="ïṡļíḍé"/>
              <p:cNvSpPr/>
              <p:nvPr/>
            </p:nvSpPr>
            <p:spPr>
              <a:xfrm>
                <a:off x="8346882" y="1923437"/>
                <a:ext cx="70692" cy="38680"/>
              </a:xfrm>
              <a:custGeom>
                <a:avLst/>
                <a:gdLst>
                  <a:gd name="connsiteX0" fmla="*/ 14818 w 70692"/>
                  <a:gd name="connsiteY0" fmla="*/ 37851 h 38680"/>
                  <a:gd name="connsiteX1" fmla="*/ 34720 w 70692"/>
                  <a:gd name="connsiteY1" fmla="*/ 38636 h 38680"/>
                  <a:gd name="connsiteX2" fmla="*/ 56847 w 70692"/>
                  <a:gd name="connsiteY2" fmla="*/ 37065 h 38680"/>
                  <a:gd name="connsiteX3" fmla="*/ 53312 w 70692"/>
                  <a:gd name="connsiteY3" fmla="*/ 273 h 38680"/>
                  <a:gd name="connsiteX4" fmla="*/ 31185 w 70692"/>
                  <a:gd name="connsiteY4" fmla="*/ 2499 h 38680"/>
                  <a:gd name="connsiteX5" fmla="*/ 11676 w 70692"/>
                  <a:gd name="connsiteY5" fmla="*/ 6558 h 38680"/>
                  <a:gd name="connsiteX6" fmla="*/ 14818 w 70692"/>
                  <a:gd name="connsiteY6" fmla="*/ 37851 h 38680"/>
                  <a:gd name="connsiteX7" fmla="*/ 14818 w 70692"/>
                  <a:gd name="connsiteY7" fmla="*/ 37851 h 38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0692" h="38680">
                    <a:moveTo>
                      <a:pt x="14818" y="37851"/>
                    </a:moveTo>
                    <a:cubicBezTo>
                      <a:pt x="21496" y="38636"/>
                      <a:pt x="28043" y="38768"/>
                      <a:pt x="34720" y="38636"/>
                    </a:cubicBezTo>
                    <a:cubicBezTo>
                      <a:pt x="42052" y="38506"/>
                      <a:pt x="49908" y="39291"/>
                      <a:pt x="56847" y="37065"/>
                    </a:cubicBezTo>
                    <a:cubicBezTo>
                      <a:pt x="77273" y="30519"/>
                      <a:pt x="74262" y="3285"/>
                      <a:pt x="53312" y="273"/>
                    </a:cubicBezTo>
                    <a:cubicBezTo>
                      <a:pt x="46242" y="-774"/>
                      <a:pt x="38386" y="1452"/>
                      <a:pt x="31185" y="2499"/>
                    </a:cubicBezTo>
                    <a:cubicBezTo>
                      <a:pt x="24507" y="3547"/>
                      <a:pt x="18092" y="4725"/>
                      <a:pt x="11676" y="6558"/>
                    </a:cubicBezTo>
                    <a:cubicBezTo>
                      <a:pt x="-5607" y="11664"/>
                      <a:pt x="-2989" y="35756"/>
                      <a:pt x="14818" y="37851"/>
                    </a:cubicBezTo>
                    <a:lnTo>
                      <a:pt x="14818" y="37851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" name="iŝḻïdê"/>
              <p:cNvSpPr/>
              <p:nvPr/>
            </p:nvSpPr>
            <p:spPr>
              <a:xfrm>
                <a:off x="8500013" y="2023205"/>
                <a:ext cx="51685" cy="38957"/>
              </a:xfrm>
              <a:custGeom>
                <a:avLst/>
                <a:gdLst>
                  <a:gd name="connsiteX0" fmla="*/ 7023 w 51685"/>
                  <a:gd name="connsiteY0" fmla="*/ 29474 h 38957"/>
                  <a:gd name="connsiteX1" fmla="*/ 32424 w 51685"/>
                  <a:gd name="connsiteY1" fmla="*/ 38901 h 38957"/>
                  <a:gd name="connsiteX2" fmla="*/ 51409 w 51685"/>
                  <a:gd name="connsiteY2" fmla="*/ 23451 h 38957"/>
                  <a:gd name="connsiteX3" fmla="*/ 38839 w 51685"/>
                  <a:gd name="connsiteY3" fmla="*/ 2501 h 38957"/>
                  <a:gd name="connsiteX4" fmla="*/ 11867 w 51685"/>
                  <a:gd name="connsiteY4" fmla="*/ 1323 h 38957"/>
                  <a:gd name="connsiteX5" fmla="*/ 214 w 51685"/>
                  <a:gd name="connsiteY5" fmla="*/ 13761 h 38957"/>
                  <a:gd name="connsiteX6" fmla="*/ 7023 w 51685"/>
                  <a:gd name="connsiteY6" fmla="*/ 29474 h 38957"/>
                  <a:gd name="connsiteX7" fmla="*/ 7023 w 51685"/>
                  <a:gd name="connsiteY7" fmla="*/ 29474 h 38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685" h="38957">
                    <a:moveTo>
                      <a:pt x="7023" y="29474"/>
                    </a:moveTo>
                    <a:cubicBezTo>
                      <a:pt x="13569" y="34711"/>
                      <a:pt x="24175" y="38246"/>
                      <a:pt x="32424" y="38901"/>
                    </a:cubicBezTo>
                    <a:cubicBezTo>
                      <a:pt x="41720" y="39686"/>
                      <a:pt x="49837" y="32223"/>
                      <a:pt x="51409" y="23451"/>
                    </a:cubicBezTo>
                    <a:cubicBezTo>
                      <a:pt x="52980" y="14154"/>
                      <a:pt x="47742" y="5644"/>
                      <a:pt x="38839" y="2501"/>
                    </a:cubicBezTo>
                    <a:cubicBezTo>
                      <a:pt x="30983" y="-379"/>
                      <a:pt x="19854" y="-772"/>
                      <a:pt x="11867" y="1323"/>
                    </a:cubicBezTo>
                    <a:cubicBezTo>
                      <a:pt x="5844" y="2894"/>
                      <a:pt x="1262" y="7608"/>
                      <a:pt x="214" y="13761"/>
                    </a:cubicBezTo>
                    <a:cubicBezTo>
                      <a:pt x="-833" y="20177"/>
                      <a:pt x="2047" y="25415"/>
                      <a:pt x="7023" y="29474"/>
                    </a:cubicBezTo>
                    <a:lnTo>
                      <a:pt x="7023" y="29474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" name="î$ḷíḓe"/>
              <p:cNvSpPr/>
              <p:nvPr/>
            </p:nvSpPr>
            <p:spPr>
              <a:xfrm>
                <a:off x="8533198" y="1931604"/>
                <a:ext cx="59823" cy="36504"/>
              </a:xfrm>
              <a:custGeom>
                <a:avLst/>
                <a:gdLst>
                  <a:gd name="connsiteX0" fmla="*/ 13903 w 59823"/>
                  <a:gd name="connsiteY0" fmla="*/ 36231 h 36504"/>
                  <a:gd name="connsiteX1" fmla="*/ 28829 w 59823"/>
                  <a:gd name="connsiteY1" fmla="*/ 36362 h 36504"/>
                  <a:gd name="connsiteX2" fmla="*/ 46374 w 59823"/>
                  <a:gd name="connsiteY2" fmla="*/ 34922 h 36504"/>
                  <a:gd name="connsiteX3" fmla="*/ 59730 w 59823"/>
                  <a:gd name="connsiteY3" fmla="*/ 16068 h 36504"/>
                  <a:gd name="connsiteX4" fmla="*/ 43101 w 59823"/>
                  <a:gd name="connsiteY4" fmla="*/ 94 h 36504"/>
                  <a:gd name="connsiteX5" fmla="*/ 11023 w 59823"/>
                  <a:gd name="connsiteY5" fmla="*/ 6640 h 36504"/>
                  <a:gd name="connsiteX6" fmla="*/ 13903 w 59823"/>
                  <a:gd name="connsiteY6" fmla="*/ 36231 h 36504"/>
                  <a:gd name="connsiteX7" fmla="*/ 13903 w 59823"/>
                  <a:gd name="connsiteY7" fmla="*/ 36231 h 36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823" h="36504">
                    <a:moveTo>
                      <a:pt x="13903" y="36231"/>
                    </a:moveTo>
                    <a:cubicBezTo>
                      <a:pt x="18879" y="36493"/>
                      <a:pt x="23854" y="36624"/>
                      <a:pt x="28829" y="36362"/>
                    </a:cubicBezTo>
                    <a:cubicBezTo>
                      <a:pt x="34590" y="36231"/>
                      <a:pt x="41006" y="36624"/>
                      <a:pt x="46374" y="34922"/>
                    </a:cubicBezTo>
                    <a:cubicBezTo>
                      <a:pt x="54754" y="32172"/>
                      <a:pt x="60646" y="25364"/>
                      <a:pt x="59730" y="16068"/>
                    </a:cubicBezTo>
                    <a:cubicBezTo>
                      <a:pt x="58944" y="7295"/>
                      <a:pt x="51874" y="748"/>
                      <a:pt x="43101" y="94"/>
                    </a:cubicBezTo>
                    <a:cubicBezTo>
                      <a:pt x="32758" y="-692"/>
                      <a:pt x="20843" y="3629"/>
                      <a:pt x="11023" y="6640"/>
                    </a:cubicBezTo>
                    <a:cubicBezTo>
                      <a:pt x="-4558" y="11485"/>
                      <a:pt x="-3642" y="35445"/>
                      <a:pt x="13903" y="36231"/>
                    </a:cubicBezTo>
                    <a:lnTo>
                      <a:pt x="13903" y="36231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" name="i$ḷïḋê"/>
              <p:cNvSpPr/>
              <p:nvPr/>
            </p:nvSpPr>
            <p:spPr>
              <a:xfrm>
                <a:off x="8351754" y="1774657"/>
                <a:ext cx="47148" cy="36634"/>
              </a:xfrm>
              <a:custGeom>
                <a:avLst/>
                <a:gdLst>
                  <a:gd name="connsiteX0" fmla="*/ 5495 w 47148"/>
                  <a:gd name="connsiteY0" fmla="*/ 27941 h 36634"/>
                  <a:gd name="connsiteX1" fmla="*/ 23433 w 47148"/>
                  <a:gd name="connsiteY1" fmla="*/ 35666 h 36634"/>
                  <a:gd name="connsiteX2" fmla="*/ 47132 w 47148"/>
                  <a:gd name="connsiteY2" fmla="*/ 19038 h 36634"/>
                  <a:gd name="connsiteX3" fmla="*/ 24873 w 47148"/>
                  <a:gd name="connsiteY3" fmla="*/ 576 h 36634"/>
                  <a:gd name="connsiteX4" fmla="*/ 6412 w 47148"/>
                  <a:gd name="connsiteY4" fmla="*/ 6861 h 36634"/>
                  <a:gd name="connsiteX5" fmla="*/ 5495 w 47148"/>
                  <a:gd name="connsiteY5" fmla="*/ 27941 h 36634"/>
                  <a:gd name="connsiteX6" fmla="*/ 5495 w 47148"/>
                  <a:gd name="connsiteY6" fmla="*/ 27941 h 36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148" h="36634">
                    <a:moveTo>
                      <a:pt x="5495" y="27941"/>
                    </a:moveTo>
                    <a:cubicBezTo>
                      <a:pt x="11125" y="31345"/>
                      <a:pt x="17279" y="33440"/>
                      <a:pt x="23433" y="35666"/>
                    </a:cubicBezTo>
                    <a:cubicBezTo>
                      <a:pt x="34562" y="39725"/>
                      <a:pt x="46608" y="30429"/>
                      <a:pt x="47132" y="19038"/>
                    </a:cubicBezTo>
                    <a:cubicBezTo>
                      <a:pt x="47655" y="7647"/>
                      <a:pt x="36264" y="-2566"/>
                      <a:pt x="24873" y="576"/>
                    </a:cubicBezTo>
                    <a:cubicBezTo>
                      <a:pt x="18588" y="2278"/>
                      <a:pt x="12303" y="3849"/>
                      <a:pt x="6412" y="6861"/>
                    </a:cubicBezTo>
                    <a:cubicBezTo>
                      <a:pt x="-1706" y="10920"/>
                      <a:pt x="-2230" y="23228"/>
                      <a:pt x="5495" y="27941"/>
                    </a:cubicBezTo>
                    <a:lnTo>
                      <a:pt x="5495" y="27941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4" name="îṣḻïḑé"/>
              <p:cNvSpPr/>
              <p:nvPr/>
            </p:nvSpPr>
            <p:spPr>
              <a:xfrm>
                <a:off x="8148191" y="1838787"/>
                <a:ext cx="46765" cy="43807"/>
              </a:xfrm>
              <a:custGeom>
                <a:avLst/>
                <a:gdLst>
                  <a:gd name="connsiteX0" fmla="*/ 352 w 46765"/>
                  <a:gd name="connsiteY0" fmla="*/ 11732 h 43807"/>
                  <a:gd name="connsiteX1" fmla="*/ 1923 w 46765"/>
                  <a:gd name="connsiteY1" fmla="*/ 18279 h 43807"/>
                  <a:gd name="connsiteX2" fmla="*/ 7815 w 46765"/>
                  <a:gd name="connsiteY2" fmla="*/ 28884 h 43807"/>
                  <a:gd name="connsiteX3" fmla="*/ 24312 w 46765"/>
                  <a:gd name="connsiteY3" fmla="*/ 42763 h 43807"/>
                  <a:gd name="connsiteX4" fmla="*/ 44738 w 46765"/>
                  <a:gd name="connsiteY4" fmla="*/ 18410 h 43807"/>
                  <a:gd name="connsiteX5" fmla="*/ 28371 w 46765"/>
                  <a:gd name="connsiteY5" fmla="*/ 4531 h 43807"/>
                  <a:gd name="connsiteX6" fmla="*/ 17504 w 46765"/>
                  <a:gd name="connsiteY6" fmla="*/ 603 h 43807"/>
                  <a:gd name="connsiteX7" fmla="*/ 12921 w 46765"/>
                  <a:gd name="connsiteY7" fmla="*/ 472 h 43807"/>
                  <a:gd name="connsiteX8" fmla="*/ 10303 w 46765"/>
                  <a:gd name="connsiteY8" fmla="*/ 80 h 43807"/>
                  <a:gd name="connsiteX9" fmla="*/ 352 w 46765"/>
                  <a:gd name="connsiteY9" fmla="*/ 11732 h 43807"/>
                  <a:gd name="connsiteX10" fmla="*/ 352 w 46765"/>
                  <a:gd name="connsiteY10" fmla="*/ 11732 h 43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6765" h="43807">
                    <a:moveTo>
                      <a:pt x="352" y="11732"/>
                    </a:moveTo>
                    <a:cubicBezTo>
                      <a:pt x="876" y="13566"/>
                      <a:pt x="1137" y="15660"/>
                      <a:pt x="1923" y="18279"/>
                    </a:cubicBezTo>
                    <a:cubicBezTo>
                      <a:pt x="3101" y="22469"/>
                      <a:pt x="5196" y="25349"/>
                      <a:pt x="7815" y="28884"/>
                    </a:cubicBezTo>
                    <a:cubicBezTo>
                      <a:pt x="12528" y="35038"/>
                      <a:pt x="16849" y="39883"/>
                      <a:pt x="24312" y="42763"/>
                    </a:cubicBezTo>
                    <a:cubicBezTo>
                      <a:pt x="38191" y="48263"/>
                      <a:pt x="52070" y="30848"/>
                      <a:pt x="44738" y="18410"/>
                    </a:cubicBezTo>
                    <a:cubicBezTo>
                      <a:pt x="40679" y="11601"/>
                      <a:pt x="35180" y="8066"/>
                      <a:pt x="28371" y="4531"/>
                    </a:cubicBezTo>
                    <a:cubicBezTo>
                      <a:pt x="24836" y="2698"/>
                      <a:pt x="21563" y="1127"/>
                      <a:pt x="17504" y="603"/>
                    </a:cubicBezTo>
                    <a:cubicBezTo>
                      <a:pt x="15933" y="341"/>
                      <a:pt x="14362" y="472"/>
                      <a:pt x="12921" y="472"/>
                    </a:cubicBezTo>
                    <a:cubicBezTo>
                      <a:pt x="8077" y="472"/>
                      <a:pt x="14492" y="734"/>
                      <a:pt x="10303" y="80"/>
                    </a:cubicBezTo>
                    <a:cubicBezTo>
                      <a:pt x="4149" y="-837"/>
                      <a:pt x="-1481" y="6364"/>
                      <a:pt x="352" y="11732"/>
                    </a:cubicBezTo>
                    <a:lnTo>
                      <a:pt x="352" y="11732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" name="isḻîḍe"/>
              <p:cNvSpPr/>
              <p:nvPr/>
            </p:nvSpPr>
            <p:spPr>
              <a:xfrm>
                <a:off x="8141797" y="2056009"/>
                <a:ext cx="47193" cy="53154"/>
              </a:xfrm>
              <a:custGeom>
                <a:avLst/>
                <a:gdLst>
                  <a:gd name="connsiteX0" fmla="*/ 1770 w 47193"/>
                  <a:gd name="connsiteY0" fmla="*/ 23380 h 53154"/>
                  <a:gd name="connsiteX1" fmla="*/ 19315 w 47193"/>
                  <a:gd name="connsiteY1" fmla="*/ 50221 h 53154"/>
                  <a:gd name="connsiteX2" fmla="*/ 46680 w 47193"/>
                  <a:gd name="connsiteY2" fmla="*/ 30843 h 53154"/>
                  <a:gd name="connsiteX3" fmla="*/ 27564 w 47193"/>
                  <a:gd name="connsiteY3" fmla="*/ 5050 h 53154"/>
                  <a:gd name="connsiteX4" fmla="*/ 6615 w 47193"/>
                  <a:gd name="connsiteY4" fmla="*/ 2955 h 53154"/>
                  <a:gd name="connsiteX5" fmla="*/ 1770 w 47193"/>
                  <a:gd name="connsiteY5" fmla="*/ 23380 h 53154"/>
                  <a:gd name="connsiteX6" fmla="*/ 1770 w 47193"/>
                  <a:gd name="connsiteY6" fmla="*/ 23380 h 53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193" h="53154">
                    <a:moveTo>
                      <a:pt x="1770" y="23380"/>
                    </a:moveTo>
                    <a:cubicBezTo>
                      <a:pt x="6484" y="32938"/>
                      <a:pt x="10150" y="43937"/>
                      <a:pt x="19315" y="50221"/>
                    </a:cubicBezTo>
                    <a:cubicBezTo>
                      <a:pt x="32408" y="59256"/>
                      <a:pt x="50477" y="45901"/>
                      <a:pt x="46680" y="30843"/>
                    </a:cubicBezTo>
                    <a:cubicBezTo>
                      <a:pt x="44061" y="20369"/>
                      <a:pt x="34765" y="12644"/>
                      <a:pt x="27564" y="5050"/>
                    </a:cubicBezTo>
                    <a:cubicBezTo>
                      <a:pt x="22064" y="-842"/>
                      <a:pt x="13161" y="-1628"/>
                      <a:pt x="6615" y="2955"/>
                    </a:cubicBezTo>
                    <a:cubicBezTo>
                      <a:pt x="68" y="7537"/>
                      <a:pt x="-1765" y="16048"/>
                      <a:pt x="1770" y="23380"/>
                    </a:cubicBezTo>
                    <a:lnTo>
                      <a:pt x="1770" y="23380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" name="îs1íḑé"/>
              <p:cNvSpPr/>
              <p:nvPr/>
            </p:nvSpPr>
            <p:spPr>
              <a:xfrm>
                <a:off x="8289818" y="2031905"/>
                <a:ext cx="45471" cy="45404"/>
              </a:xfrm>
              <a:custGeom>
                <a:avLst/>
                <a:gdLst>
                  <a:gd name="connsiteX0" fmla="*/ 16629 w 45471"/>
                  <a:gd name="connsiteY0" fmla="*/ 35308 h 45404"/>
                  <a:gd name="connsiteX1" fmla="*/ 11392 w 45471"/>
                  <a:gd name="connsiteY1" fmla="*/ 33213 h 45404"/>
                  <a:gd name="connsiteX2" fmla="*/ 9297 w 45471"/>
                  <a:gd name="connsiteY2" fmla="*/ 31380 h 45404"/>
                  <a:gd name="connsiteX3" fmla="*/ 9166 w 45471"/>
                  <a:gd name="connsiteY3" fmla="*/ 30987 h 45404"/>
                  <a:gd name="connsiteX4" fmla="*/ 7856 w 45471"/>
                  <a:gd name="connsiteY4" fmla="*/ 28499 h 45404"/>
                  <a:gd name="connsiteX5" fmla="*/ 7463 w 45471"/>
                  <a:gd name="connsiteY5" fmla="*/ 27582 h 45404"/>
                  <a:gd name="connsiteX6" fmla="*/ 7202 w 45471"/>
                  <a:gd name="connsiteY6" fmla="*/ 25881 h 45404"/>
                  <a:gd name="connsiteX7" fmla="*/ 22914 w 45471"/>
                  <a:gd name="connsiteY7" fmla="*/ 45128 h 45404"/>
                  <a:gd name="connsiteX8" fmla="*/ 44255 w 45471"/>
                  <a:gd name="connsiteY8" fmla="*/ 32427 h 45404"/>
                  <a:gd name="connsiteX9" fmla="*/ 9166 w 45471"/>
                  <a:gd name="connsiteY9" fmla="*/ 3098 h 45404"/>
                  <a:gd name="connsiteX10" fmla="*/ 524 w 45471"/>
                  <a:gd name="connsiteY10" fmla="*/ 22084 h 45404"/>
                  <a:gd name="connsiteX11" fmla="*/ 16629 w 45471"/>
                  <a:gd name="connsiteY11" fmla="*/ 35308 h 45404"/>
                  <a:gd name="connsiteX12" fmla="*/ 16629 w 45471"/>
                  <a:gd name="connsiteY12" fmla="*/ 35308 h 45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5471" h="45404">
                    <a:moveTo>
                      <a:pt x="16629" y="35308"/>
                    </a:moveTo>
                    <a:cubicBezTo>
                      <a:pt x="20033" y="35046"/>
                      <a:pt x="11522" y="33344"/>
                      <a:pt x="11392" y="33213"/>
                    </a:cubicBezTo>
                    <a:cubicBezTo>
                      <a:pt x="10737" y="32558"/>
                      <a:pt x="9951" y="32035"/>
                      <a:pt x="9297" y="31380"/>
                    </a:cubicBezTo>
                    <a:cubicBezTo>
                      <a:pt x="10344" y="32427"/>
                      <a:pt x="10213" y="32296"/>
                      <a:pt x="9166" y="30987"/>
                    </a:cubicBezTo>
                    <a:cubicBezTo>
                      <a:pt x="8511" y="30201"/>
                      <a:pt x="8118" y="29416"/>
                      <a:pt x="7856" y="28499"/>
                    </a:cubicBezTo>
                    <a:cubicBezTo>
                      <a:pt x="7333" y="26928"/>
                      <a:pt x="7202" y="26666"/>
                      <a:pt x="7463" y="27582"/>
                    </a:cubicBezTo>
                    <a:cubicBezTo>
                      <a:pt x="8118" y="28892"/>
                      <a:pt x="6809" y="32165"/>
                      <a:pt x="7202" y="25881"/>
                    </a:cubicBezTo>
                    <a:cubicBezTo>
                      <a:pt x="6547" y="35308"/>
                      <a:pt x="13879" y="43556"/>
                      <a:pt x="22914" y="45128"/>
                    </a:cubicBezTo>
                    <a:cubicBezTo>
                      <a:pt x="32210" y="46699"/>
                      <a:pt x="41113" y="41461"/>
                      <a:pt x="44255" y="32427"/>
                    </a:cubicBezTo>
                    <a:cubicBezTo>
                      <a:pt x="51064" y="12395"/>
                      <a:pt x="27889" y="-7900"/>
                      <a:pt x="9166" y="3098"/>
                    </a:cubicBezTo>
                    <a:cubicBezTo>
                      <a:pt x="2881" y="6895"/>
                      <a:pt x="-1571" y="14620"/>
                      <a:pt x="524" y="22084"/>
                    </a:cubicBezTo>
                    <a:cubicBezTo>
                      <a:pt x="2488" y="28892"/>
                      <a:pt x="9035" y="35831"/>
                      <a:pt x="16629" y="35308"/>
                    </a:cubicBezTo>
                    <a:lnTo>
                      <a:pt x="16629" y="35308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" name="îṥḻíďe"/>
              <p:cNvSpPr/>
              <p:nvPr/>
            </p:nvSpPr>
            <p:spPr>
              <a:xfrm>
                <a:off x="8021179" y="1961778"/>
                <a:ext cx="49459" cy="35268"/>
              </a:xfrm>
              <a:custGeom>
                <a:avLst/>
                <a:gdLst>
                  <a:gd name="connsiteX0" fmla="*/ 10310 w 49459"/>
                  <a:gd name="connsiteY0" fmla="*/ 31457 h 35268"/>
                  <a:gd name="connsiteX1" fmla="*/ 31129 w 49459"/>
                  <a:gd name="connsiteY1" fmla="*/ 35255 h 35268"/>
                  <a:gd name="connsiteX2" fmla="*/ 49459 w 49459"/>
                  <a:gd name="connsiteY2" fmla="*/ 18364 h 35268"/>
                  <a:gd name="connsiteX3" fmla="*/ 32569 w 49459"/>
                  <a:gd name="connsiteY3" fmla="*/ 34 h 35268"/>
                  <a:gd name="connsiteX4" fmla="*/ 11620 w 49459"/>
                  <a:gd name="connsiteY4" fmla="*/ 2260 h 35268"/>
                  <a:gd name="connsiteX5" fmla="*/ 10310 w 49459"/>
                  <a:gd name="connsiteY5" fmla="*/ 31457 h 35268"/>
                  <a:gd name="connsiteX6" fmla="*/ 10310 w 49459"/>
                  <a:gd name="connsiteY6" fmla="*/ 31457 h 35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9459" h="35268">
                    <a:moveTo>
                      <a:pt x="10310" y="31457"/>
                    </a:moveTo>
                    <a:cubicBezTo>
                      <a:pt x="17250" y="33160"/>
                      <a:pt x="23928" y="34993"/>
                      <a:pt x="31129" y="35255"/>
                    </a:cubicBezTo>
                    <a:cubicBezTo>
                      <a:pt x="40294" y="35647"/>
                      <a:pt x="49459" y="27922"/>
                      <a:pt x="49459" y="18364"/>
                    </a:cubicBezTo>
                    <a:cubicBezTo>
                      <a:pt x="49459" y="8806"/>
                      <a:pt x="42389" y="427"/>
                      <a:pt x="32569" y="34"/>
                    </a:cubicBezTo>
                    <a:cubicBezTo>
                      <a:pt x="25499" y="-228"/>
                      <a:pt x="18559" y="1081"/>
                      <a:pt x="11620" y="2260"/>
                    </a:cubicBezTo>
                    <a:cubicBezTo>
                      <a:pt x="-3176" y="4616"/>
                      <a:pt x="-4092" y="27791"/>
                      <a:pt x="10310" y="31457"/>
                    </a:cubicBezTo>
                    <a:lnTo>
                      <a:pt x="10310" y="31457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" name="íṩļîḑé"/>
              <p:cNvSpPr/>
              <p:nvPr/>
            </p:nvSpPr>
            <p:spPr>
              <a:xfrm>
                <a:off x="7993795" y="1750078"/>
                <a:ext cx="36273" cy="37610"/>
              </a:xfrm>
              <a:custGeom>
                <a:avLst/>
                <a:gdLst>
                  <a:gd name="connsiteX0" fmla="*/ 17400 w 36273"/>
                  <a:gd name="connsiteY0" fmla="*/ 37594 h 37610"/>
                  <a:gd name="connsiteX1" fmla="*/ 18972 w 36273"/>
                  <a:gd name="connsiteY1" fmla="*/ 17 h 37610"/>
                  <a:gd name="connsiteX2" fmla="*/ 17400 w 36273"/>
                  <a:gd name="connsiteY2" fmla="*/ 37594 h 37610"/>
                  <a:gd name="connsiteX3" fmla="*/ 17400 w 36273"/>
                  <a:gd name="connsiteY3" fmla="*/ 37594 h 37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273" h="37610">
                    <a:moveTo>
                      <a:pt x="17400" y="37594"/>
                    </a:moveTo>
                    <a:cubicBezTo>
                      <a:pt x="41492" y="38510"/>
                      <a:pt x="43063" y="1064"/>
                      <a:pt x="18972" y="17"/>
                    </a:cubicBezTo>
                    <a:cubicBezTo>
                      <a:pt x="-5251" y="-900"/>
                      <a:pt x="-6822" y="36546"/>
                      <a:pt x="17400" y="37594"/>
                    </a:cubicBezTo>
                    <a:lnTo>
                      <a:pt x="17400" y="37594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" name="îslîḓé"/>
              <p:cNvSpPr/>
              <p:nvPr/>
            </p:nvSpPr>
            <p:spPr>
              <a:xfrm>
                <a:off x="8193332" y="1671381"/>
                <a:ext cx="42662" cy="44170"/>
              </a:xfrm>
              <a:custGeom>
                <a:avLst/>
                <a:gdLst>
                  <a:gd name="connsiteX0" fmla="*/ 20415 w 42662"/>
                  <a:gd name="connsiteY0" fmla="*/ 44147 h 44170"/>
                  <a:gd name="connsiteX1" fmla="*/ 22248 w 42662"/>
                  <a:gd name="connsiteY1" fmla="*/ 23 h 44170"/>
                  <a:gd name="connsiteX2" fmla="*/ 20415 w 42662"/>
                  <a:gd name="connsiteY2" fmla="*/ 44147 h 44170"/>
                  <a:gd name="connsiteX3" fmla="*/ 20415 w 42662"/>
                  <a:gd name="connsiteY3" fmla="*/ 44147 h 44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662" h="44170">
                    <a:moveTo>
                      <a:pt x="20415" y="44147"/>
                    </a:moveTo>
                    <a:cubicBezTo>
                      <a:pt x="48827" y="45326"/>
                      <a:pt x="50660" y="1202"/>
                      <a:pt x="22248" y="23"/>
                    </a:cubicBezTo>
                    <a:cubicBezTo>
                      <a:pt x="-6165" y="-1155"/>
                      <a:pt x="-7997" y="42969"/>
                      <a:pt x="20415" y="44147"/>
                    </a:cubicBezTo>
                    <a:lnTo>
                      <a:pt x="20415" y="44147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" name="ï$1íḓê"/>
              <p:cNvSpPr/>
              <p:nvPr/>
            </p:nvSpPr>
            <p:spPr>
              <a:xfrm>
                <a:off x="8614022" y="1784132"/>
                <a:ext cx="54592" cy="33756"/>
              </a:xfrm>
              <a:custGeom>
                <a:avLst/>
                <a:gdLst>
                  <a:gd name="connsiteX0" fmla="*/ 9936 w 54592"/>
                  <a:gd name="connsiteY0" fmla="*/ 29072 h 33756"/>
                  <a:gd name="connsiteX1" fmla="*/ 44764 w 54592"/>
                  <a:gd name="connsiteY1" fmla="*/ 32607 h 33756"/>
                  <a:gd name="connsiteX2" fmla="*/ 48823 w 54592"/>
                  <a:gd name="connsiteY2" fmla="*/ 8909 h 33756"/>
                  <a:gd name="connsiteX3" fmla="*/ 15174 w 54592"/>
                  <a:gd name="connsiteY3" fmla="*/ 5 h 33756"/>
                  <a:gd name="connsiteX4" fmla="*/ 9936 w 54592"/>
                  <a:gd name="connsiteY4" fmla="*/ 29072 h 33756"/>
                  <a:gd name="connsiteX5" fmla="*/ 9936 w 54592"/>
                  <a:gd name="connsiteY5" fmla="*/ 29072 h 33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592" h="33756">
                    <a:moveTo>
                      <a:pt x="9936" y="29072"/>
                    </a:moveTo>
                    <a:cubicBezTo>
                      <a:pt x="21589" y="33655"/>
                      <a:pt x="32457" y="34964"/>
                      <a:pt x="44764" y="32607"/>
                    </a:cubicBezTo>
                    <a:cubicBezTo>
                      <a:pt x="55763" y="30512"/>
                      <a:pt x="58119" y="14670"/>
                      <a:pt x="48823" y="8909"/>
                    </a:cubicBezTo>
                    <a:cubicBezTo>
                      <a:pt x="38218" y="2362"/>
                      <a:pt x="27612" y="-126"/>
                      <a:pt x="15174" y="5"/>
                    </a:cubicBezTo>
                    <a:cubicBezTo>
                      <a:pt x="-1979" y="5"/>
                      <a:pt x="-5776" y="23049"/>
                      <a:pt x="9936" y="29072"/>
                    </a:cubicBezTo>
                    <a:lnTo>
                      <a:pt x="9936" y="29072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isḻîďé"/>
              <p:cNvSpPr/>
              <p:nvPr/>
            </p:nvSpPr>
            <p:spPr>
              <a:xfrm>
                <a:off x="8718646" y="2056728"/>
                <a:ext cx="43317" cy="39552"/>
              </a:xfrm>
              <a:custGeom>
                <a:avLst/>
                <a:gdLst>
                  <a:gd name="connsiteX0" fmla="*/ 3773 w 43317"/>
                  <a:gd name="connsiteY0" fmla="*/ 25018 h 39552"/>
                  <a:gd name="connsiteX1" fmla="*/ 27603 w 43317"/>
                  <a:gd name="connsiteY1" fmla="*/ 39551 h 39552"/>
                  <a:gd name="connsiteX2" fmla="*/ 42660 w 43317"/>
                  <a:gd name="connsiteY2" fmla="*/ 21352 h 39552"/>
                  <a:gd name="connsiteX3" fmla="*/ 32054 w 43317"/>
                  <a:gd name="connsiteY3" fmla="*/ 6295 h 39552"/>
                  <a:gd name="connsiteX4" fmla="*/ 19223 w 43317"/>
                  <a:gd name="connsiteY4" fmla="*/ 665 h 39552"/>
                  <a:gd name="connsiteX5" fmla="*/ 2202 w 43317"/>
                  <a:gd name="connsiteY5" fmla="*/ 6818 h 39552"/>
                  <a:gd name="connsiteX6" fmla="*/ 3773 w 43317"/>
                  <a:gd name="connsiteY6" fmla="*/ 25018 h 39552"/>
                  <a:gd name="connsiteX7" fmla="*/ 3773 w 43317"/>
                  <a:gd name="connsiteY7" fmla="*/ 25018 h 39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3317" h="39552">
                    <a:moveTo>
                      <a:pt x="3773" y="25018"/>
                    </a:moveTo>
                    <a:cubicBezTo>
                      <a:pt x="9796" y="33267"/>
                      <a:pt x="16866" y="39421"/>
                      <a:pt x="27603" y="39551"/>
                    </a:cubicBezTo>
                    <a:cubicBezTo>
                      <a:pt x="36375" y="39682"/>
                      <a:pt x="45933" y="30779"/>
                      <a:pt x="42660" y="21352"/>
                    </a:cubicBezTo>
                    <a:cubicBezTo>
                      <a:pt x="40434" y="14805"/>
                      <a:pt x="37815" y="10354"/>
                      <a:pt x="32054" y="6295"/>
                    </a:cubicBezTo>
                    <a:cubicBezTo>
                      <a:pt x="28126" y="3545"/>
                      <a:pt x="23675" y="2236"/>
                      <a:pt x="19223" y="665"/>
                    </a:cubicBezTo>
                    <a:cubicBezTo>
                      <a:pt x="13200" y="-1300"/>
                      <a:pt x="5475" y="1188"/>
                      <a:pt x="2202" y="6818"/>
                    </a:cubicBezTo>
                    <a:cubicBezTo>
                      <a:pt x="-1464" y="13234"/>
                      <a:pt x="-286" y="19519"/>
                      <a:pt x="3773" y="25018"/>
                    </a:cubicBezTo>
                    <a:lnTo>
                      <a:pt x="3773" y="25018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ïşḷiḋé"/>
              <p:cNvSpPr/>
              <p:nvPr/>
            </p:nvSpPr>
            <p:spPr>
              <a:xfrm>
                <a:off x="8616524" y="2185598"/>
                <a:ext cx="48784" cy="41560"/>
              </a:xfrm>
              <a:custGeom>
                <a:avLst/>
                <a:gdLst>
                  <a:gd name="connsiteX0" fmla="*/ 9791 w 48784"/>
                  <a:gd name="connsiteY0" fmla="*/ 30747 h 41560"/>
                  <a:gd name="connsiteX1" fmla="*/ 12017 w 48784"/>
                  <a:gd name="connsiteY1" fmla="*/ 31401 h 41560"/>
                  <a:gd name="connsiteX2" fmla="*/ 14636 w 48784"/>
                  <a:gd name="connsiteY2" fmla="*/ 31925 h 41560"/>
                  <a:gd name="connsiteX3" fmla="*/ 15683 w 48784"/>
                  <a:gd name="connsiteY3" fmla="*/ 32056 h 41560"/>
                  <a:gd name="connsiteX4" fmla="*/ 16600 w 48784"/>
                  <a:gd name="connsiteY4" fmla="*/ 32580 h 41560"/>
                  <a:gd name="connsiteX5" fmla="*/ 14636 w 48784"/>
                  <a:gd name="connsiteY5" fmla="*/ 31663 h 41560"/>
                  <a:gd name="connsiteX6" fmla="*/ 14636 w 48784"/>
                  <a:gd name="connsiteY6" fmla="*/ 31532 h 41560"/>
                  <a:gd name="connsiteX7" fmla="*/ 14898 w 48784"/>
                  <a:gd name="connsiteY7" fmla="*/ 31925 h 41560"/>
                  <a:gd name="connsiteX8" fmla="*/ 19480 w 48784"/>
                  <a:gd name="connsiteY8" fmla="*/ 36246 h 41560"/>
                  <a:gd name="connsiteX9" fmla="*/ 18302 w 48784"/>
                  <a:gd name="connsiteY9" fmla="*/ 35460 h 41560"/>
                  <a:gd name="connsiteX10" fmla="*/ 26550 w 48784"/>
                  <a:gd name="connsiteY10" fmla="*/ 40567 h 41560"/>
                  <a:gd name="connsiteX11" fmla="*/ 41346 w 48784"/>
                  <a:gd name="connsiteY11" fmla="*/ 38210 h 41560"/>
                  <a:gd name="connsiteX12" fmla="*/ 48547 w 48784"/>
                  <a:gd name="connsiteY12" fmla="*/ 25247 h 41560"/>
                  <a:gd name="connsiteX13" fmla="*/ 30217 w 48784"/>
                  <a:gd name="connsiteY13" fmla="*/ 1418 h 41560"/>
                  <a:gd name="connsiteX14" fmla="*/ 4554 w 48784"/>
                  <a:gd name="connsiteY14" fmla="*/ 6393 h 41560"/>
                  <a:gd name="connsiteX15" fmla="*/ 9791 w 48784"/>
                  <a:gd name="connsiteY15" fmla="*/ 30747 h 41560"/>
                  <a:gd name="connsiteX16" fmla="*/ 9791 w 48784"/>
                  <a:gd name="connsiteY16" fmla="*/ 30747 h 41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8784" h="41560">
                    <a:moveTo>
                      <a:pt x="9791" y="30747"/>
                    </a:moveTo>
                    <a:cubicBezTo>
                      <a:pt x="10577" y="30878"/>
                      <a:pt x="11232" y="31270"/>
                      <a:pt x="12017" y="31401"/>
                    </a:cubicBezTo>
                    <a:cubicBezTo>
                      <a:pt x="12803" y="31663"/>
                      <a:pt x="13719" y="31925"/>
                      <a:pt x="14636" y="31925"/>
                    </a:cubicBezTo>
                    <a:cubicBezTo>
                      <a:pt x="17123" y="32318"/>
                      <a:pt x="17516" y="32449"/>
                      <a:pt x="15683" y="32056"/>
                    </a:cubicBezTo>
                    <a:cubicBezTo>
                      <a:pt x="12934" y="30485"/>
                      <a:pt x="16338" y="32973"/>
                      <a:pt x="16600" y="32580"/>
                    </a:cubicBezTo>
                    <a:cubicBezTo>
                      <a:pt x="15945" y="32318"/>
                      <a:pt x="15290" y="31925"/>
                      <a:pt x="14636" y="31663"/>
                    </a:cubicBezTo>
                    <a:cubicBezTo>
                      <a:pt x="15814" y="32449"/>
                      <a:pt x="15814" y="32449"/>
                      <a:pt x="14636" y="31532"/>
                    </a:cubicBezTo>
                    <a:cubicBezTo>
                      <a:pt x="13850" y="29830"/>
                      <a:pt x="14112" y="31139"/>
                      <a:pt x="14898" y="31925"/>
                    </a:cubicBezTo>
                    <a:cubicBezTo>
                      <a:pt x="16338" y="33496"/>
                      <a:pt x="17778" y="34937"/>
                      <a:pt x="19480" y="36246"/>
                    </a:cubicBezTo>
                    <a:cubicBezTo>
                      <a:pt x="18825" y="35853"/>
                      <a:pt x="16731" y="33758"/>
                      <a:pt x="18302" y="35460"/>
                    </a:cubicBezTo>
                    <a:cubicBezTo>
                      <a:pt x="20789" y="38079"/>
                      <a:pt x="23408" y="39126"/>
                      <a:pt x="26550" y="40567"/>
                    </a:cubicBezTo>
                    <a:cubicBezTo>
                      <a:pt x="31264" y="42793"/>
                      <a:pt x="37418" y="40959"/>
                      <a:pt x="41346" y="38210"/>
                    </a:cubicBezTo>
                    <a:cubicBezTo>
                      <a:pt x="46060" y="34937"/>
                      <a:pt x="47631" y="30747"/>
                      <a:pt x="48547" y="25247"/>
                    </a:cubicBezTo>
                    <a:cubicBezTo>
                      <a:pt x="50511" y="13987"/>
                      <a:pt x="39906" y="4298"/>
                      <a:pt x="30217" y="1418"/>
                    </a:cubicBezTo>
                    <a:cubicBezTo>
                      <a:pt x="21444" y="-1201"/>
                      <a:pt x="11101" y="-546"/>
                      <a:pt x="4554" y="6393"/>
                    </a:cubicBezTo>
                    <a:cubicBezTo>
                      <a:pt x="-2647" y="13594"/>
                      <a:pt x="-1600" y="28128"/>
                      <a:pt x="9791" y="30747"/>
                    </a:cubicBezTo>
                    <a:lnTo>
                      <a:pt x="9791" y="30747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iśḷîḍe"/>
              <p:cNvSpPr/>
              <p:nvPr/>
            </p:nvSpPr>
            <p:spPr>
              <a:xfrm>
                <a:off x="8368622" y="2132638"/>
                <a:ext cx="38394" cy="35973"/>
              </a:xfrm>
              <a:custGeom>
                <a:avLst/>
                <a:gdLst>
                  <a:gd name="connsiteX0" fmla="*/ 22014 w 38394"/>
                  <a:gd name="connsiteY0" fmla="*/ 35523 h 35973"/>
                  <a:gd name="connsiteX1" fmla="*/ 33405 w 38394"/>
                  <a:gd name="connsiteY1" fmla="*/ 29893 h 35973"/>
                  <a:gd name="connsiteX2" fmla="*/ 34322 w 38394"/>
                  <a:gd name="connsiteY2" fmla="*/ 7242 h 35973"/>
                  <a:gd name="connsiteX3" fmla="*/ 23455 w 38394"/>
                  <a:gd name="connsiteY3" fmla="*/ 826 h 35973"/>
                  <a:gd name="connsiteX4" fmla="*/ 18 w 38394"/>
                  <a:gd name="connsiteY4" fmla="*/ 17193 h 35973"/>
                  <a:gd name="connsiteX5" fmla="*/ 22014 w 38394"/>
                  <a:gd name="connsiteY5" fmla="*/ 35523 h 35973"/>
                  <a:gd name="connsiteX6" fmla="*/ 22014 w 38394"/>
                  <a:gd name="connsiteY6" fmla="*/ 35523 h 35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394" h="35973">
                    <a:moveTo>
                      <a:pt x="22014" y="35523"/>
                    </a:moveTo>
                    <a:cubicBezTo>
                      <a:pt x="26204" y="34607"/>
                      <a:pt x="30394" y="33167"/>
                      <a:pt x="33405" y="29893"/>
                    </a:cubicBezTo>
                    <a:cubicBezTo>
                      <a:pt x="39690" y="23216"/>
                      <a:pt x="40083" y="14443"/>
                      <a:pt x="34322" y="7242"/>
                    </a:cubicBezTo>
                    <a:cubicBezTo>
                      <a:pt x="31441" y="3707"/>
                      <a:pt x="27644" y="2135"/>
                      <a:pt x="23455" y="826"/>
                    </a:cubicBezTo>
                    <a:cubicBezTo>
                      <a:pt x="12325" y="-2709"/>
                      <a:pt x="542" y="5540"/>
                      <a:pt x="18" y="17193"/>
                    </a:cubicBezTo>
                    <a:cubicBezTo>
                      <a:pt x="-506" y="28977"/>
                      <a:pt x="10623" y="38142"/>
                      <a:pt x="22014" y="35523"/>
                    </a:cubicBezTo>
                    <a:lnTo>
                      <a:pt x="22014" y="3552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ïṣļidè"/>
              <p:cNvSpPr/>
              <p:nvPr/>
            </p:nvSpPr>
            <p:spPr>
              <a:xfrm>
                <a:off x="8930502" y="2235022"/>
                <a:ext cx="60013" cy="43524"/>
              </a:xfrm>
              <a:custGeom>
                <a:avLst/>
                <a:gdLst>
                  <a:gd name="connsiteX0" fmla="*/ 4289 w 60013"/>
                  <a:gd name="connsiteY0" fmla="*/ 27803 h 43524"/>
                  <a:gd name="connsiteX1" fmla="*/ 25370 w 60013"/>
                  <a:gd name="connsiteY1" fmla="*/ 39980 h 43524"/>
                  <a:gd name="connsiteX2" fmla="*/ 51556 w 60013"/>
                  <a:gd name="connsiteY2" fmla="*/ 40635 h 43524"/>
                  <a:gd name="connsiteX3" fmla="*/ 58365 w 60013"/>
                  <a:gd name="connsiteY3" fmla="*/ 18245 h 43524"/>
                  <a:gd name="connsiteX4" fmla="*/ 38201 w 60013"/>
                  <a:gd name="connsiteY4" fmla="*/ 3712 h 43524"/>
                  <a:gd name="connsiteX5" fmla="*/ 16990 w 60013"/>
                  <a:gd name="connsiteY5" fmla="*/ 46 h 43524"/>
                  <a:gd name="connsiteX6" fmla="*/ 1540 w 60013"/>
                  <a:gd name="connsiteY6" fmla="*/ 9604 h 43524"/>
                  <a:gd name="connsiteX7" fmla="*/ 4289 w 60013"/>
                  <a:gd name="connsiteY7" fmla="*/ 27803 h 43524"/>
                  <a:gd name="connsiteX8" fmla="*/ 4289 w 60013"/>
                  <a:gd name="connsiteY8" fmla="*/ 27803 h 43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013" h="43524">
                    <a:moveTo>
                      <a:pt x="4289" y="27803"/>
                    </a:moveTo>
                    <a:cubicBezTo>
                      <a:pt x="10313" y="33171"/>
                      <a:pt x="17907" y="36969"/>
                      <a:pt x="25370" y="39980"/>
                    </a:cubicBezTo>
                    <a:cubicBezTo>
                      <a:pt x="34011" y="43515"/>
                      <a:pt x="42915" y="45479"/>
                      <a:pt x="51556" y="40635"/>
                    </a:cubicBezTo>
                    <a:cubicBezTo>
                      <a:pt x="59805" y="36052"/>
                      <a:pt x="61900" y="26625"/>
                      <a:pt x="58365" y="18245"/>
                    </a:cubicBezTo>
                    <a:cubicBezTo>
                      <a:pt x="54830" y="9865"/>
                      <a:pt x="46450" y="6069"/>
                      <a:pt x="38201" y="3712"/>
                    </a:cubicBezTo>
                    <a:cubicBezTo>
                      <a:pt x="31916" y="1879"/>
                      <a:pt x="23537" y="-347"/>
                      <a:pt x="16990" y="46"/>
                    </a:cubicBezTo>
                    <a:cubicBezTo>
                      <a:pt x="10313" y="569"/>
                      <a:pt x="4421" y="3057"/>
                      <a:pt x="1540" y="9604"/>
                    </a:cubicBezTo>
                    <a:cubicBezTo>
                      <a:pt x="-948" y="15234"/>
                      <a:pt x="-686" y="23483"/>
                      <a:pt x="4289" y="27803"/>
                    </a:cubicBezTo>
                    <a:lnTo>
                      <a:pt x="4289" y="2780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ïşľíḑè"/>
              <p:cNvSpPr/>
              <p:nvPr/>
            </p:nvSpPr>
            <p:spPr>
              <a:xfrm>
                <a:off x="8762194" y="1966704"/>
                <a:ext cx="37625" cy="37163"/>
              </a:xfrm>
              <a:custGeom>
                <a:avLst/>
                <a:gdLst>
                  <a:gd name="connsiteX0" fmla="*/ 2386 w 37625"/>
                  <a:gd name="connsiteY0" fmla="*/ 26139 h 37163"/>
                  <a:gd name="connsiteX1" fmla="*/ 2910 w 37625"/>
                  <a:gd name="connsiteY1" fmla="*/ 27448 h 37163"/>
                  <a:gd name="connsiteX2" fmla="*/ 37607 w 37625"/>
                  <a:gd name="connsiteY2" fmla="*/ 19461 h 37163"/>
                  <a:gd name="connsiteX3" fmla="*/ 3564 w 37625"/>
                  <a:gd name="connsiteY3" fmla="*/ 8725 h 37163"/>
                  <a:gd name="connsiteX4" fmla="*/ 2648 w 37625"/>
                  <a:gd name="connsiteY4" fmla="*/ 9903 h 37163"/>
                  <a:gd name="connsiteX5" fmla="*/ 1993 w 37625"/>
                  <a:gd name="connsiteY5" fmla="*/ 26139 h 37163"/>
                  <a:gd name="connsiteX6" fmla="*/ 2779 w 37625"/>
                  <a:gd name="connsiteY6" fmla="*/ 27317 h 37163"/>
                  <a:gd name="connsiteX7" fmla="*/ 37476 w 37625"/>
                  <a:gd name="connsiteY7" fmla="*/ 19330 h 37163"/>
                  <a:gd name="connsiteX8" fmla="*/ 3434 w 37625"/>
                  <a:gd name="connsiteY8" fmla="*/ 8594 h 37163"/>
                  <a:gd name="connsiteX9" fmla="*/ 2386 w 37625"/>
                  <a:gd name="connsiteY9" fmla="*/ 26139 h 37163"/>
                  <a:gd name="connsiteX10" fmla="*/ 2386 w 37625"/>
                  <a:gd name="connsiteY10" fmla="*/ 26139 h 37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7625" h="37163">
                    <a:moveTo>
                      <a:pt x="2386" y="26139"/>
                    </a:moveTo>
                    <a:cubicBezTo>
                      <a:pt x="2517" y="26531"/>
                      <a:pt x="2779" y="27055"/>
                      <a:pt x="2910" y="27448"/>
                    </a:cubicBezTo>
                    <a:cubicBezTo>
                      <a:pt x="9980" y="44993"/>
                      <a:pt x="36952" y="36613"/>
                      <a:pt x="37607" y="19461"/>
                    </a:cubicBezTo>
                    <a:cubicBezTo>
                      <a:pt x="38392" y="-310"/>
                      <a:pt x="14563" y="-4631"/>
                      <a:pt x="3564" y="8725"/>
                    </a:cubicBezTo>
                    <a:cubicBezTo>
                      <a:pt x="3302" y="9117"/>
                      <a:pt x="2910" y="9510"/>
                      <a:pt x="2648" y="9903"/>
                    </a:cubicBezTo>
                    <a:cubicBezTo>
                      <a:pt x="-625" y="13831"/>
                      <a:pt x="-887" y="21949"/>
                      <a:pt x="1993" y="26139"/>
                    </a:cubicBezTo>
                    <a:cubicBezTo>
                      <a:pt x="2255" y="26531"/>
                      <a:pt x="2517" y="26924"/>
                      <a:pt x="2779" y="27317"/>
                    </a:cubicBezTo>
                    <a:cubicBezTo>
                      <a:pt x="12599" y="41458"/>
                      <a:pt x="36690" y="39101"/>
                      <a:pt x="37476" y="19330"/>
                    </a:cubicBezTo>
                    <a:cubicBezTo>
                      <a:pt x="38130" y="2309"/>
                      <a:pt x="11944" y="-8427"/>
                      <a:pt x="3434" y="8594"/>
                    </a:cubicBezTo>
                    <a:cubicBezTo>
                      <a:pt x="553" y="15009"/>
                      <a:pt x="-233" y="19592"/>
                      <a:pt x="2386" y="26139"/>
                    </a:cubicBezTo>
                    <a:lnTo>
                      <a:pt x="2386" y="2613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î$ḻïdé"/>
              <p:cNvSpPr/>
              <p:nvPr/>
            </p:nvSpPr>
            <p:spPr>
              <a:xfrm>
                <a:off x="7670884" y="1733489"/>
                <a:ext cx="56213" cy="44499"/>
              </a:xfrm>
              <a:custGeom>
                <a:avLst/>
                <a:gdLst>
                  <a:gd name="connsiteX0" fmla="*/ 51867 w 56213"/>
                  <a:gd name="connsiteY0" fmla="*/ 16605 h 44499"/>
                  <a:gd name="connsiteX1" fmla="*/ 14289 w 56213"/>
                  <a:gd name="connsiteY1" fmla="*/ 500 h 44499"/>
                  <a:gd name="connsiteX2" fmla="*/ 2243 w 56213"/>
                  <a:gd name="connsiteY2" fmla="*/ 27079 h 44499"/>
                  <a:gd name="connsiteX3" fmla="*/ 39035 w 56213"/>
                  <a:gd name="connsiteY3" fmla="*/ 44493 h 44499"/>
                  <a:gd name="connsiteX4" fmla="*/ 51867 w 56213"/>
                  <a:gd name="connsiteY4" fmla="*/ 16605 h 44499"/>
                  <a:gd name="connsiteX5" fmla="*/ 51867 w 56213"/>
                  <a:gd name="connsiteY5" fmla="*/ 16605 h 44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213" h="44499">
                    <a:moveTo>
                      <a:pt x="51867" y="16605"/>
                    </a:moveTo>
                    <a:cubicBezTo>
                      <a:pt x="42570" y="6785"/>
                      <a:pt x="28430" y="-2249"/>
                      <a:pt x="14289" y="500"/>
                    </a:cubicBezTo>
                    <a:cubicBezTo>
                      <a:pt x="3029" y="2726"/>
                      <a:pt x="-3779" y="17128"/>
                      <a:pt x="2243" y="27079"/>
                    </a:cubicBezTo>
                    <a:cubicBezTo>
                      <a:pt x="9576" y="39387"/>
                      <a:pt x="25418" y="44101"/>
                      <a:pt x="39035" y="44493"/>
                    </a:cubicBezTo>
                    <a:cubicBezTo>
                      <a:pt x="53176" y="44886"/>
                      <a:pt x="61948" y="27211"/>
                      <a:pt x="51867" y="16605"/>
                    </a:cubicBezTo>
                    <a:lnTo>
                      <a:pt x="51867" y="16605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íṧļïḑé"/>
              <p:cNvSpPr/>
              <p:nvPr/>
            </p:nvSpPr>
            <p:spPr>
              <a:xfrm>
                <a:off x="7839396" y="1885261"/>
                <a:ext cx="56982" cy="33459"/>
              </a:xfrm>
              <a:custGeom>
                <a:avLst/>
                <a:gdLst>
                  <a:gd name="connsiteX0" fmla="*/ 49770 w 56982"/>
                  <a:gd name="connsiteY0" fmla="*/ 7550 h 33459"/>
                  <a:gd name="connsiteX1" fmla="*/ 17167 w 56982"/>
                  <a:gd name="connsiteY1" fmla="*/ 87 h 33459"/>
                  <a:gd name="connsiteX2" fmla="*/ 15 w 56982"/>
                  <a:gd name="connsiteY2" fmla="*/ 15929 h 33459"/>
                  <a:gd name="connsiteX3" fmla="*/ 15858 w 56982"/>
                  <a:gd name="connsiteY3" fmla="*/ 33082 h 33459"/>
                  <a:gd name="connsiteX4" fmla="*/ 48853 w 56982"/>
                  <a:gd name="connsiteY4" fmla="*/ 28237 h 33459"/>
                  <a:gd name="connsiteX5" fmla="*/ 49770 w 56982"/>
                  <a:gd name="connsiteY5" fmla="*/ 7550 h 33459"/>
                  <a:gd name="connsiteX6" fmla="*/ 49770 w 56982"/>
                  <a:gd name="connsiteY6" fmla="*/ 7550 h 33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982" h="33459">
                    <a:moveTo>
                      <a:pt x="49770" y="7550"/>
                    </a:moveTo>
                    <a:cubicBezTo>
                      <a:pt x="39688" y="4015"/>
                      <a:pt x="28166" y="-699"/>
                      <a:pt x="17167" y="87"/>
                    </a:cubicBezTo>
                    <a:cubicBezTo>
                      <a:pt x="8264" y="741"/>
                      <a:pt x="408" y="6372"/>
                      <a:pt x="15" y="15929"/>
                    </a:cubicBezTo>
                    <a:cubicBezTo>
                      <a:pt x="-378" y="25619"/>
                      <a:pt x="6954" y="31773"/>
                      <a:pt x="15858" y="33082"/>
                    </a:cubicBezTo>
                    <a:cubicBezTo>
                      <a:pt x="26725" y="34653"/>
                      <a:pt x="38509" y="30987"/>
                      <a:pt x="48853" y="28237"/>
                    </a:cubicBezTo>
                    <a:cubicBezTo>
                      <a:pt x="59197" y="25488"/>
                      <a:pt x="59851" y="11085"/>
                      <a:pt x="49770" y="7550"/>
                    </a:cubicBezTo>
                    <a:lnTo>
                      <a:pt x="49770" y="7550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ïṥḻîḍè"/>
              <p:cNvSpPr/>
              <p:nvPr/>
            </p:nvSpPr>
            <p:spPr>
              <a:xfrm>
                <a:off x="7872787" y="1594722"/>
                <a:ext cx="36651" cy="44930"/>
              </a:xfrm>
              <a:custGeom>
                <a:avLst/>
                <a:gdLst>
                  <a:gd name="connsiteX0" fmla="*/ 36019 w 36651"/>
                  <a:gd name="connsiteY0" fmla="*/ 38843 h 44930"/>
                  <a:gd name="connsiteX1" fmla="*/ 33662 w 36651"/>
                  <a:gd name="connsiteY1" fmla="*/ 13311 h 44930"/>
                  <a:gd name="connsiteX2" fmla="*/ 13106 w 36651"/>
                  <a:gd name="connsiteY2" fmla="*/ 611 h 44930"/>
                  <a:gd name="connsiteX3" fmla="*/ 5381 w 36651"/>
                  <a:gd name="connsiteY3" fmla="*/ 4670 h 44930"/>
                  <a:gd name="connsiteX4" fmla="*/ 4464 w 36651"/>
                  <a:gd name="connsiteY4" fmla="*/ 28761 h 44930"/>
                  <a:gd name="connsiteX5" fmla="*/ 24889 w 36651"/>
                  <a:gd name="connsiteY5" fmla="*/ 44473 h 44930"/>
                  <a:gd name="connsiteX6" fmla="*/ 36019 w 36651"/>
                  <a:gd name="connsiteY6" fmla="*/ 38843 h 44930"/>
                  <a:gd name="connsiteX7" fmla="*/ 36019 w 36651"/>
                  <a:gd name="connsiteY7" fmla="*/ 38843 h 44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651" h="44930">
                    <a:moveTo>
                      <a:pt x="36019" y="38843"/>
                    </a:moveTo>
                    <a:cubicBezTo>
                      <a:pt x="37590" y="30463"/>
                      <a:pt x="36019" y="21560"/>
                      <a:pt x="33662" y="13311"/>
                    </a:cubicBezTo>
                    <a:cubicBezTo>
                      <a:pt x="31305" y="4801"/>
                      <a:pt x="22402" y="-2139"/>
                      <a:pt x="13106" y="611"/>
                    </a:cubicBezTo>
                    <a:cubicBezTo>
                      <a:pt x="9963" y="1527"/>
                      <a:pt x="7868" y="2575"/>
                      <a:pt x="5381" y="4670"/>
                    </a:cubicBezTo>
                    <a:cubicBezTo>
                      <a:pt x="-1428" y="10823"/>
                      <a:pt x="-1821" y="22083"/>
                      <a:pt x="4464" y="28761"/>
                    </a:cubicBezTo>
                    <a:cubicBezTo>
                      <a:pt x="10225" y="34915"/>
                      <a:pt x="16903" y="41462"/>
                      <a:pt x="24889" y="44473"/>
                    </a:cubicBezTo>
                    <a:cubicBezTo>
                      <a:pt x="28948" y="46044"/>
                      <a:pt x="35102" y="43425"/>
                      <a:pt x="36019" y="38843"/>
                    </a:cubicBezTo>
                    <a:lnTo>
                      <a:pt x="36019" y="3884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ïsḷiḍe"/>
              <p:cNvSpPr/>
              <p:nvPr/>
            </p:nvSpPr>
            <p:spPr>
              <a:xfrm>
                <a:off x="8069619" y="1577312"/>
                <a:ext cx="41303" cy="42624"/>
              </a:xfrm>
              <a:custGeom>
                <a:avLst/>
                <a:gdLst>
                  <a:gd name="connsiteX0" fmla="*/ 40953 w 41303"/>
                  <a:gd name="connsiteY0" fmla="*/ 30982 h 42624"/>
                  <a:gd name="connsiteX1" fmla="*/ 39251 w 41303"/>
                  <a:gd name="connsiteY1" fmla="*/ 21817 h 42624"/>
                  <a:gd name="connsiteX2" fmla="*/ 34930 w 41303"/>
                  <a:gd name="connsiteY2" fmla="*/ 9771 h 42624"/>
                  <a:gd name="connsiteX3" fmla="*/ 5863 w 41303"/>
                  <a:gd name="connsiteY3" fmla="*/ 4796 h 42624"/>
                  <a:gd name="connsiteX4" fmla="*/ 8482 w 41303"/>
                  <a:gd name="connsiteY4" fmla="*/ 34125 h 42624"/>
                  <a:gd name="connsiteX5" fmla="*/ 20004 w 41303"/>
                  <a:gd name="connsiteY5" fmla="*/ 39493 h 42624"/>
                  <a:gd name="connsiteX6" fmla="*/ 28907 w 41303"/>
                  <a:gd name="connsiteY6" fmla="*/ 41981 h 42624"/>
                  <a:gd name="connsiteX7" fmla="*/ 40953 w 41303"/>
                  <a:gd name="connsiteY7" fmla="*/ 30982 h 42624"/>
                  <a:gd name="connsiteX8" fmla="*/ 40953 w 41303"/>
                  <a:gd name="connsiteY8" fmla="*/ 30982 h 42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303" h="42624">
                    <a:moveTo>
                      <a:pt x="40953" y="30982"/>
                    </a:moveTo>
                    <a:cubicBezTo>
                      <a:pt x="40036" y="27971"/>
                      <a:pt x="39905" y="24960"/>
                      <a:pt x="39251" y="21817"/>
                    </a:cubicBezTo>
                    <a:cubicBezTo>
                      <a:pt x="38465" y="17758"/>
                      <a:pt x="36632" y="13437"/>
                      <a:pt x="34930" y="9771"/>
                    </a:cubicBezTo>
                    <a:cubicBezTo>
                      <a:pt x="29955" y="-1358"/>
                      <a:pt x="14243" y="-2929"/>
                      <a:pt x="5863" y="4796"/>
                    </a:cubicBezTo>
                    <a:cubicBezTo>
                      <a:pt x="-2648" y="12652"/>
                      <a:pt x="-1993" y="28233"/>
                      <a:pt x="8482" y="34125"/>
                    </a:cubicBezTo>
                    <a:cubicBezTo>
                      <a:pt x="11886" y="36089"/>
                      <a:pt x="16207" y="38315"/>
                      <a:pt x="20004" y="39493"/>
                    </a:cubicBezTo>
                    <a:cubicBezTo>
                      <a:pt x="23015" y="40410"/>
                      <a:pt x="26027" y="40802"/>
                      <a:pt x="28907" y="41981"/>
                    </a:cubicBezTo>
                    <a:cubicBezTo>
                      <a:pt x="35323" y="44861"/>
                      <a:pt x="43048" y="37529"/>
                      <a:pt x="40953" y="30982"/>
                    </a:cubicBezTo>
                    <a:lnTo>
                      <a:pt x="40953" y="30982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íş1îḓê"/>
              <p:cNvSpPr/>
              <p:nvPr/>
            </p:nvSpPr>
            <p:spPr>
              <a:xfrm>
                <a:off x="8346233" y="1621827"/>
                <a:ext cx="50867" cy="44933"/>
              </a:xfrm>
              <a:custGeom>
                <a:avLst/>
                <a:gdLst>
                  <a:gd name="connsiteX0" fmla="*/ 49641 w 50867"/>
                  <a:gd name="connsiteY0" fmla="*/ 32163 h 44933"/>
                  <a:gd name="connsiteX1" fmla="*/ 40083 w 50867"/>
                  <a:gd name="connsiteY1" fmla="*/ 14618 h 44933"/>
                  <a:gd name="connsiteX2" fmla="*/ 12063 w 50867"/>
                  <a:gd name="connsiteY2" fmla="*/ 608 h 44933"/>
                  <a:gd name="connsiteX3" fmla="*/ 18 w 50867"/>
                  <a:gd name="connsiteY3" fmla="*/ 15273 h 44933"/>
                  <a:gd name="connsiteX4" fmla="*/ 5124 w 50867"/>
                  <a:gd name="connsiteY4" fmla="*/ 31246 h 44933"/>
                  <a:gd name="connsiteX5" fmla="*/ 20836 w 50867"/>
                  <a:gd name="connsiteY5" fmla="*/ 39888 h 44933"/>
                  <a:gd name="connsiteX6" fmla="*/ 39559 w 50867"/>
                  <a:gd name="connsiteY6" fmla="*/ 44601 h 44933"/>
                  <a:gd name="connsiteX7" fmla="*/ 49641 w 50867"/>
                  <a:gd name="connsiteY7" fmla="*/ 32163 h 44933"/>
                  <a:gd name="connsiteX8" fmla="*/ 49641 w 50867"/>
                  <a:gd name="connsiteY8" fmla="*/ 32163 h 4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867" h="44933">
                    <a:moveTo>
                      <a:pt x="49641" y="32163"/>
                    </a:moveTo>
                    <a:cubicBezTo>
                      <a:pt x="45582" y="26140"/>
                      <a:pt x="42571" y="19986"/>
                      <a:pt x="40083" y="14618"/>
                    </a:cubicBezTo>
                    <a:cubicBezTo>
                      <a:pt x="34846" y="3358"/>
                      <a:pt x="23978" y="-1880"/>
                      <a:pt x="12063" y="608"/>
                    </a:cubicBezTo>
                    <a:cubicBezTo>
                      <a:pt x="5909" y="1917"/>
                      <a:pt x="-375" y="8595"/>
                      <a:pt x="18" y="15273"/>
                    </a:cubicBezTo>
                    <a:cubicBezTo>
                      <a:pt x="410" y="21295"/>
                      <a:pt x="1065" y="26533"/>
                      <a:pt x="5124" y="31246"/>
                    </a:cubicBezTo>
                    <a:cubicBezTo>
                      <a:pt x="9183" y="35960"/>
                      <a:pt x="14813" y="38840"/>
                      <a:pt x="20836" y="39888"/>
                    </a:cubicBezTo>
                    <a:cubicBezTo>
                      <a:pt x="26335" y="40804"/>
                      <a:pt x="32881" y="42245"/>
                      <a:pt x="39559" y="44601"/>
                    </a:cubicBezTo>
                    <a:cubicBezTo>
                      <a:pt x="45974" y="46696"/>
                      <a:pt x="53962" y="38447"/>
                      <a:pt x="49641" y="32163"/>
                    </a:cubicBezTo>
                    <a:lnTo>
                      <a:pt x="49641" y="3216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íṥľíḍe"/>
              <p:cNvSpPr/>
              <p:nvPr/>
            </p:nvSpPr>
            <p:spPr>
              <a:xfrm>
                <a:off x="8229913" y="1541630"/>
                <a:ext cx="39589" cy="41329"/>
              </a:xfrm>
              <a:custGeom>
                <a:avLst/>
                <a:gdLst>
                  <a:gd name="connsiteX0" fmla="*/ 38826 w 39589"/>
                  <a:gd name="connsiteY0" fmla="*/ 18089 h 41329"/>
                  <a:gd name="connsiteX1" fmla="*/ 31887 w 39589"/>
                  <a:gd name="connsiteY1" fmla="*/ 5912 h 41329"/>
                  <a:gd name="connsiteX2" fmla="*/ 9628 w 39589"/>
                  <a:gd name="connsiteY2" fmla="*/ 2115 h 41329"/>
                  <a:gd name="connsiteX3" fmla="*/ 332 w 39589"/>
                  <a:gd name="connsiteY3" fmla="*/ 22540 h 41329"/>
                  <a:gd name="connsiteX4" fmla="*/ 3343 w 39589"/>
                  <a:gd name="connsiteY4" fmla="*/ 31313 h 41329"/>
                  <a:gd name="connsiteX5" fmla="*/ 26911 w 39589"/>
                  <a:gd name="connsiteY5" fmla="*/ 40085 h 41329"/>
                  <a:gd name="connsiteX6" fmla="*/ 38826 w 39589"/>
                  <a:gd name="connsiteY6" fmla="*/ 18089 h 41329"/>
                  <a:gd name="connsiteX7" fmla="*/ 38826 w 39589"/>
                  <a:gd name="connsiteY7" fmla="*/ 18089 h 41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589" h="41329">
                    <a:moveTo>
                      <a:pt x="38826" y="18089"/>
                    </a:moveTo>
                    <a:cubicBezTo>
                      <a:pt x="37124" y="13375"/>
                      <a:pt x="35160" y="9709"/>
                      <a:pt x="31887" y="5912"/>
                    </a:cubicBezTo>
                    <a:cubicBezTo>
                      <a:pt x="26911" y="-111"/>
                      <a:pt x="16437" y="-1813"/>
                      <a:pt x="9628" y="2115"/>
                    </a:cubicBezTo>
                    <a:cubicBezTo>
                      <a:pt x="2165" y="6435"/>
                      <a:pt x="-1108" y="14160"/>
                      <a:pt x="332" y="22540"/>
                    </a:cubicBezTo>
                    <a:cubicBezTo>
                      <a:pt x="856" y="25682"/>
                      <a:pt x="1641" y="28563"/>
                      <a:pt x="3343" y="31313"/>
                    </a:cubicBezTo>
                    <a:cubicBezTo>
                      <a:pt x="8057" y="39692"/>
                      <a:pt x="17877" y="43489"/>
                      <a:pt x="26911" y="40085"/>
                    </a:cubicBezTo>
                    <a:cubicBezTo>
                      <a:pt x="34898" y="37073"/>
                      <a:pt x="41968" y="26992"/>
                      <a:pt x="38826" y="18089"/>
                    </a:cubicBezTo>
                    <a:lnTo>
                      <a:pt x="38826" y="1808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ï$liḍé"/>
              <p:cNvSpPr/>
              <p:nvPr/>
            </p:nvSpPr>
            <p:spPr>
              <a:xfrm>
                <a:off x="8771463" y="2149213"/>
                <a:ext cx="33472" cy="34973"/>
              </a:xfrm>
              <a:custGeom>
                <a:avLst/>
                <a:gdLst>
                  <a:gd name="connsiteX0" fmla="*/ 19303 w 33472"/>
                  <a:gd name="connsiteY0" fmla="*/ 33744 h 34973"/>
                  <a:gd name="connsiteX1" fmla="*/ 21922 w 33472"/>
                  <a:gd name="connsiteY1" fmla="*/ 32827 h 34973"/>
                  <a:gd name="connsiteX2" fmla="*/ 23100 w 33472"/>
                  <a:gd name="connsiteY2" fmla="*/ 2975 h 34973"/>
                  <a:gd name="connsiteX3" fmla="*/ 20613 w 33472"/>
                  <a:gd name="connsiteY3" fmla="*/ 1797 h 34973"/>
                  <a:gd name="connsiteX4" fmla="*/ 19303 w 33472"/>
                  <a:gd name="connsiteY4" fmla="*/ 33744 h 34973"/>
                  <a:gd name="connsiteX5" fmla="*/ 19303 w 33472"/>
                  <a:gd name="connsiteY5" fmla="*/ 33744 h 34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3472" h="34973">
                    <a:moveTo>
                      <a:pt x="19303" y="33744"/>
                    </a:moveTo>
                    <a:cubicBezTo>
                      <a:pt x="20220" y="33482"/>
                      <a:pt x="21005" y="33089"/>
                      <a:pt x="21922" y="32827"/>
                    </a:cubicBezTo>
                    <a:cubicBezTo>
                      <a:pt x="36717" y="27328"/>
                      <a:pt x="37503" y="9653"/>
                      <a:pt x="23100" y="2975"/>
                    </a:cubicBezTo>
                    <a:cubicBezTo>
                      <a:pt x="22315" y="2582"/>
                      <a:pt x="21398" y="2189"/>
                      <a:pt x="20613" y="1797"/>
                    </a:cubicBezTo>
                    <a:cubicBezTo>
                      <a:pt x="-5443" y="-10380"/>
                      <a:pt x="-7799" y="43695"/>
                      <a:pt x="19303" y="33744"/>
                    </a:cubicBezTo>
                    <a:lnTo>
                      <a:pt x="19303" y="33744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îs1ïḋé"/>
              <p:cNvSpPr/>
              <p:nvPr/>
            </p:nvSpPr>
            <p:spPr>
              <a:xfrm>
                <a:off x="8510694" y="2197797"/>
                <a:ext cx="32037" cy="45313"/>
              </a:xfrm>
              <a:custGeom>
                <a:avLst/>
                <a:gdLst>
                  <a:gd name="connsiteX0" fmla="*/ 8 w 32037"/>
                  <a:gd name="connsiteY0" fmla="*/ 13310 h 45313"/>
                  <a:gd name="connsiteX1" fmla="*/ 6816 w 32037"/>
                  <a:gd name="connsiteY1" fmla="*/ 40806 h 45313"/>
                  <a:gd name="connsiteX2" fmla="*/ 18600 w 32037"/>
                  <a:gd name="connsiteY2" fmla="*/ 45257 h 45313"/>
                  <a:gd name="connsiteX3" fmla="*/ 29205 w 32037"/>
                  <a:gd name="connsiteY3" fmla="*/ 38841 h 45313"/>
                  <a:gd name="connsiteX4" fmla="*/ 31300 w 32037"/>
                  <a:gd name="connsiteY4" fmla="*/ 21296 h 45313"/>
                  <a:gd name="connsiteX5" fmla="*/ 27634 w 32037"/>
                  <a:gd name="connsiteY5" fmla="*/ 10691 h 45313"/>
                  <a:gd name="connsiteX6" fmla="*/ 12708 w 32037"/>
                  <a:gd name="connsiteY6" fmla="*/ 85 h 45313"/>
                  <a:gd name="connsiteX7" fmla="*/ 8 w 32037"/>
                  <a:gd name="connsiteY7" fmla="*/ 13310 h 45313"/>
                  <a:gd name="connsiteX8" fmla="*/ 8 w 32037"/>
                  <a:gd name="connsiteY8" fmla="*/ 13310 h 45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037" h="45313">
                    <a:moveTo>
                      <a:pt x="8" y="13310"/>
                    </a:moveTo>
                    <a:cubicBezTo>
                      <a:pt x="400" y="22344"/>
                      <a:pt x="-647" y="34128"/>
                      <a:pt x="6816" y="40806"/>
                    </a:cubicBezTo>
                    <a:cubicBezTo>
                      <a:pt x="10351" y="43948"/>
                      <a:pt x="13886" y="45650"/>
                      <a:pt x="18600" y="45257"/>
                    </a:cubicBezTo>
                    <a:cubicBezTo>
                      <a:pt x="22659" y="44865"/>
                      <a:pt x="27372" y="42770"/>
                      <a:pt x="29205" y="38841"/>
                    </a:cubicBezTo>
                    <a:cubicBezTo>
                      <a:pt x="32086" y="33211"/>
                      <a:pt x="32741" y="27581"/>
                      <a:pt x="31300" y="21296"/>
                    </a:cubicBezTo>
                    <a:cubicBezTo>
                      <a:pt x="30384" y="17761"/>
                      <a:pt x="28812" y="14226"/>
                      <a:pt x="27634" y="10691"/>
                    </a:cubicBezTo>
                    <a:cubicBezTo>
                      <a:pt x="25277" y="4014"/>
                      <a:pt x="20040" y="-700"/>
                      <a:pt x="12708" y="85"/>
                    </a:cubicBezTo>
                    <a:cubicBezTo>
                      <a:pt x="6292" y="609"/>
                      <a:pt x="-255" y="6239"/>
                      <a:pt x="8" y="13310"/>
                    </a:cubicBezTo>
                    <a:lnTo>
                      <a:pt x="8" y="13310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9" name="图形 7"/>
            <p:cNvGrpSpPr/>
            <p:nvPr/>
          </p:nvGrpSpPr>
          <p:grpSpPr>
            <a:xfrm>
              <a:off x="8383828" y="518458"/>
              <a:ext cx="460488" cy="328474"/>
              <a:chOff x="8383828" y="518458"/>
              <a:chExt cx="460488" cy="328474"/>
            </a:xfrm>
            <a:solidFill>
              <a:schemeClr val="accent1"/>
            </a:solidFill>
          </p:grpSpPr>
          <p:sp>
            <p:nvSpPr>
              <p:cNvPr id="28" name="íṩľiḍè"/>
              <p:cNvSpPr/>
              <p:nvPr/>
            </p:nvSpPr>
            <p:spPr>
              <a:xfrm>
                <a:off x="8392863" y="518458"/>
                <a:ext cx="447264" cy="222136"/>
              </a:xfrm>
              <a:custGeom>
                <a:avLst/>
                <a:gdLst>
                  <a:gd name="connsiteX0" fmla="*/ 447265 w 447264"/>
                  <a:gd name="connsiteY0" fmla="*/ 34653 h 222136"/>
                  <a:gd name="connsiteX1" fmla="*/ 0 w 447264"/>
                  <a:gd name="connsiteY1" fmla="*/ 187058 h 222136"/>
                  <a:gd name="connsiteX2" fmla="*/ 447265 w 447264"/>
                  <a:gd name="connsiteY2" fmla="*/ 34653 h 222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7264" h="222136">
                    <a:moveTo>
                      <a:pt x="447265" y="34653"/>
                    </a:moveTo>
                    <a:cubicBezTo>
                      <a:pt x="127266" y="-96541"/>
                      <a:pt x="0" y="187058"/>
                      <a:pt x="0" y="187058"/>
                    </a:cubicBezTo>
                    <a:cubicBezTo>
                      <a:pt x="0" y="187058"/>
                      <a:pt x="281505" y="331345"/>
                      <a:pt x="447265" y="34653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" name="îṩḻïḑe"/>
              <p:cNvSpPr/>
              <p:nvPr/>
            </p:nvSpPr>
            <p:spPr>
              <a:xfrm>
                <a:off x="8383828" y="634350"/>
                <a:ext cx="460488" cy="212583"/>
              </a:xfrm>
              <a:custGeom>
                <a:avLst/>
                <a:gdLst>
                  <a:gd name="connsiteX0" fmla="*/ 460489 w 460488"/>
                  <a:gd name="connsiteY0" fmla="*/ 159153 h 212583"/>
                  <a:gd name="connsiteX1" fmla="*/ 0 w 460488"/>
                  <a:gd name="connsiteY1" fmla="*/ 53622 h 212583"/>
                  <a:gd name="connsiteX2" fmla="*/ 460489 w 460488"/>
                  <a:gd name="connsiteY2" fmla="*/ 159153 h 212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0488" h="212583">
                    <a:moveTo>
                      <a:pt x="460489" y="159153"/>
                    </a:moveTo>
                    <a:cubicBezTo>
                      <a:pt x="257151" y="-120649"/>
                      <a:pt x="0" y="53622"/>
                      <a:pt x="0" y="53622"/>
                    </a:cubicBezTo>
                    <a:cubicBezTo>
                      <a:pt x="0" y="53622"/>
                      <a:pt x="163534" y="324390"/>
                      <a:pt x="460489" y="159153"/>
                    </a:cubicBezTo>
                    <a:close/>
                  </a:path>
                </a:pathLst>
              </a:custGeom>
              <a:solidFill>
                <a:srgbClr val="006ED1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0" name="图形 7"/>
            <p:cNvGrpSpPr/>
            <p:nvPr/>
          </p:nvGrpSpPr>
          <p:grpSpPr>
            <a:xfrm>
              <a:off x="6487809" y="-2078235"/>
              <a:ext cx="441426" cy="633450"/>
              <a:chOff x="6487809" y="-2078235"/>
              <a:chExt cx="441426" cy="633450"/>
            </a:xfrm>
            <a:solidFill>
              <a:schemeClr val="accent1"/>
            </a:solidFill>
          </p:grpSpPr>
          <p:sp>
            <p:nvSpPr>
              <p:cNvPr id="26" name="îŝ1îḑê"/>
              <p:cNvSpPr/>
              <p:nvPr/>
            </p:nvSpPr>
            <p:spPr>
              <a:xfrm>
                <a:off x="6487809" y="-2078235"/>
                <a:ext cx="272836" cy="626511"/>
              </a:xfrm>
              <a:custGeom>
                <a:avLst/>
                <a:gdLst>
                  <a:gd name="connsiteX0" fmla="*/ 99366 w 272836"/>
                  <a:gd name="connsiteY0" fmla="*/ 0 h 626511"/>
                  <a:gd name="connsiteX1" fmla="*/ 173343 w 272836"/>
                  <a:gd name="connsiteY1" fmla="*/ 626511 h 626511"/>
                  <a:gd name="connsiteX2" fmla="*/ 99366 w 272836"/>
                  <a:gd name="connsiteY2" fmla="*/ 0 h 626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2836" h="626511">
                    <a:moveTo>
                      <a:pt x="99366" y="0"/>
                    </a:moveTo>
                    <a:cubicBezTo>
                      <a:pt x="-161320" y="381144"/>
                      <a:pt x="173343" y="626511"/>
                      <a:pt x="173343" y="626511"/>
                    </a:cubicBezTo>
                    <a:cubicBezTo>
                      <a:pt x="173343" y="626511"/>
                      <a:pt x="440445" y="299311"/>
                      <a:pt x="99366" y="0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" name="iṣ1ïḓè"/>
              <p:cNvSpPr/>
              <p:nvPr/>
            </p:nvSpPr>
            <p:spPr>
              <a:xfrm>
                <a:off x="6607578" y="-2016566"/>
                <a:ext cx="321657" cy="571781"/>
              </a:xfrm>
              <a:custGeom>
                <a:avLst/>
                <a:gdLst>
                  <a:gd name="connsiteX0" fmla="*/ 294620 w 321657"/>
                  <a:gd name="connsiteY0" fmla="*/ 0 h 571781"/>
                  <a:gd name="connsiteX1" fmla="*/ 28042 w 321657"/>
                  <a:gd name="connsiteY1" fmla="*/ 571782 h 571781"/>
                  <a:gd name="connsiteX2" fmla="*/ 294620 w 321657"/>
                  <a:gd name="connsiteY2" fmla="*/ 0 h 571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1657" h="571781">
                    <a:moveTo>
                      <a:pt x="294620" y="0"/>
                    </a:moveTo>
                    <a:cubicBezTo>
                      <a:pt x="-127636" y="187102"/>
                      <a:pt x="28042" y="571782"/>
                      <a:pt x="28042" y="571782"/>
                    </a:cubicBezTo>
                    <a:cubicBezTo>
                      <a:pt x="28042" y="571782"/>
                      <a:pt x="427386" y="433910"/>
                      <a:pt x="294620" y="0"/>
                    </a:cubicBezTo>
                    <a:close/>
                  </a:path>
                </a:pathLst>
              </a:custGeom>
              <a:solidFill>
                <a:srgbClr val="006ED1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1" name="işḷiḑè"/>
            <p:cNvSpPr/>
            <p:nvPr/>
          </p:nvSpPr>
          <p:spPr>
            <a:xfrm>
              <a:off x="4238510" y="1788582"/>
              <a:ext cx="358361" cy="193222"/>
            </a:xfrm>
            <a:custGeom>
              <a:avLst/>
              <a:gdLst>
                <a:gd name="connsiteX0" fmla="*/ 358362 w 358361"/>
                <a:gd name="connsiteY0" fmla="*/ 18860 h 193222"/>
                <a:gd name="connsiteX1" fmla="*/ 0 w 358361"/>
                <a:gd name="connsiteY1" fmla="*/ 173753 h 193222"/>
                <a:gd name="connsiteX2" fmla="*/ 358362 w 358361"/>
                <a:gd name="connsiteY2" fmla="*/ 18860 h 193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8361" h="193222">
                  <a:moveTo>
                    <a:pt x="358362" y="18860"/>
                  </a:moveTo>
                  <a:cubicBezTo>
                    <a:pt x="86154" y="-68079"/>
                    <a:pt x="0" y="173753"/>
                    <a:pt x="0" y="173753"/>
                  </a:cubicBezTo>
                  <a:cubicBezTo>
                    <a:pt x="0" y="173753"/>
                    <a:pt x="241308" y="274178"/>
                    <a:pt x="358362" y="18860"/>
                  </a:cubicBezTo>
                  <a:close/>
                </a:path>
              </a:pathLst>
            </a:custGeom>
            <a:solidFill>
              <a:srgbClr val="009EE3"/>
            </a:solidFill>
            <a:ln w="130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ïṡḷîde"/>
            <p:cNvSpPr/>
            <p:nvPr/>
          </p:nvSpPr>
          <p:spPr>
            <a:xfrm>
              <a:off x="7131068" y="-2078366"/>
              <a:ext cx="191684" cy="191684"/>
            </a:xfrm>
            <a:custGeom>
              <a:avLst/>
              <a:gdLst>
                <a:gd name="connsiteX0" fmla="*/ 191685 w 191684"/>
                <a:gd name="connsiteY0" fmla="*/ 95842 h 191684"/>
                <a:gd name="connsiteX1" fmla="*/ 95842 w 191684"/>
                <a:gd name="connsiteY1" fmla="*/ 191685 h 191684"/>
                <a:gd name="connsiteX2" fmla="*/ 0 w 191684"/>
                <a:gd name="connsiteY2" fmla="*/ 95842 h 191684"/>
                <a:gd name="connsiteX3" fmla="*/ 95842 w 191684"/>
                <a:gd name="connsiteY3" fmla="*/ 0 h 191684"/>
                <a:gd name="connsiteX4" fmla="*/ 191685 w 191684"/>
                <a:gd name="connsiteY4" fmla="*/ 95842 h 191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1684" h="191684">
                  <a:moveTo>
                    <a:pt x="191685" y="95842"/>
                  </a:moveTo>
                  <a:cubicBezTo>
                    <a:pt x="191685" y="148775"/>
                    <a:pt x="148775" y="191685"/>
                    <a:pt x="95842" y="191685"/>
                  </a:cubicBezTo>
                  <a:cubicBezTo>
                    <a:pt x="42910" y="191685"/>
                    <a:pt x="0" y="148775"/>
                    <a:pt x="0" y="95842"/>
                  </a:cubicBezTo>
                  <a:cubicBezTo>
                    <a:pt x="0" y="42910"/>
                    <a:pt x="42910" y="0"/>
                    <a:pt x="95842" y="0"/>
                  </a:cubicBezTo>
                  <a:cubicBezTo>
                    <a:pt x="148775" y="0"/>
                    <a:pt x="191685" y="42910"/>
                    <a:pt x="191685" y="95842"/>
                  </a:cubicBezTo>
                  <a:close/>
                </a:path>
              </a:pathLst>
            </a:custGeom>
            <a:solidFill>
              <a:srgbClr val="4545DD"/>
            </a:solidFill>
            <a:ln w="130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îś1ïḓê"/>
            <p:cNvSpPr/>
            <p:nvPr/>
          </p:nvSpPr>
          <p:spPr>
            <a:xfrm>
              <a:off x="4657232" y="-1690017"/>
              <a:ext cx="254532" cy="206771"/>
            </a:xfrm>
            <a:custGeom>
              <a:avLst/>
              <a:gdLst>
                <a:gd name="connsiteX0" fmla="*/ 254532 w 254532"/>
                <a:gd name="connsiteY0" fmla="*/ 206215 h 206771"/>
                <a:gd name="connsiteX1" fmla="*/ 0 w 254532"/>
                <a:gd name="connsiteY1" fmla="*/ 1306 h 206771"/>
                <a:gd name="connsiteX2" fmla="*/ 254532 w 254532"/>
                <a:gd name="connsiteY2" fmla="*/ 206215 h 206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4532" h="206771">
                  <a:moveTo>
                    <a:pt x="254532" y="206215"/>
                  </a:moveTo>
                  <a:cubicBezTo>
                    <a:pt x="212765" y="-29332"/>
                    <a:pt x="0" y="1306"/>
                    <a:pt x="0" y="1306"/>
                  </a:cubicBezTo>
                  <a:cubicBezTo>
                    <a:pt x="0" y="1306"/>
                    <a:pt x="19771" y="219177"/>
                    <a:pt x="254532" y="206215"/>
                  </a:cubicBezTo>
                  <a:close/>
                </a:path>
              </a:pathLst>
            </a:custGeom>
            <a:solidFill>
              <a:srgbClr val="009EE3"/>
            </a:solidFill>
            <a:ln w="130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iSḷïḍé"/>
            <p:cNvSpPr/>
            <p:nvPr/>
          </p:nvSpPr>
          <p:spPr>
            <a:xfrm>
              <a:off x="7963928" y="2218078"/>
              <a:ext cx="300227" cy="243888"/>
            </a:xfrm>
            <a:custGeom>
              <a:avLst/>
              <a:gdLst>
                <a:gd name="connsiteX0" fmla="*/ 300228 w 300227"/>
                <a:gd name="connsiteY0" fmla="*/ 243241 h 243888"/>
                <a:gd name="connsiteX1" fmla="*/ 0 w 300227"/>
                <a:gd name="connsiteY1" fmla="*/ 1540 h 243888"/>
                <a:gd name="connsiteX2" fmla="*/ 300228 w 300227"/>
                <a:gd name="connsiteY2" fmla="*/ 243241 h 243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27" h="243888">
                  <a:moveTo>
                    <a:pt x="300228" y="243241"/>
                  </a:moveTo>
                  <a:cubicBezTo>
                    <a:pt x="250997" y="-34597"/>
                    <a:pt x="0" y="1540"/>
                    <a:pt x="0" y="1540"/>
                  </a:cubicBezTo>
                  <a:cubicBezTo>
                    <a:pt x="0" y="1540"/>
                    <a:pt x="23437" y="258429"/>
                    <a:pt x="300228" y="243241"/>
                  </a:cubicBezTo>
                  <a:close/>
                </a:path>
              </a:pathLst>
            </a:custGeom>
            <a:solidFill>
              <a:srgbClr val="009EE3"/>
            </a:solidFill>
            <a:ln w="130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7355957" y="3937251"/>
            <a:ext cx="3934918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7357073" y="4832601"/>
            <a:ext cx="3934918" cy="53370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îṥlîḓé"/>
          <p:cNvSpPr/>
          <p:nvPr userDrawn="1"/>
        </p:nvSpPr>
        <p:spPr>
          <a:xfrm>
            <a:off x="0" y="4585384"/>
            <a:ext cx="5439047" cy="754589"/>
          </a:xfrm>
          <a:prstGeom prst="homePlate">
            <a:avLst/>
          </a:prstGeom>
          <a:solidFill>
            <a:schemeClr val="accent1">
              <a:lumMod val="10000"/>
              <a:lumOff val="9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îSļîdè"/>
          <p:cNvSpPr/>
          <p:nvPr userDrawn="1"/>
        </p:nvSpPr>
        <p:spPr>
          <a:xfrm>
            <a:off x="0" y="4585384"/>
            <a:ext cx="4966086" cy="754589"/>
          </a:xfrm>
          <a:prstGeom prst="homePlate">
            <a:avLst/>
          </a:prstGeom>
          <a:solidFill>
            <a:schemeClr val="accent1">
              <a:lumMod val="10000"/>
              <a:lumOff val="9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" name="组合 5"/>
          <p:cNvGrpSpPr/>
          <p:nvPr userDrawn="1"/>
        </p:nvGrpSpPr>
        <p:grpSpPr>
          <a:xfrm>
            <a:off x="669314" y="2042087"/>
            <a:ext cx="3664367" cy="3205055"/>
            <a:chOff x="3789177" y="-2078366"/>
            <a:chExt cx="5201338" cy="4549373"/>
          </a:xfrm>
        </p:grpSpPr>
        <p:grpSp>
          <p:nvGrpSpPr>
            <p:cNvPr id="7" name="图形 7"/>
            <p:cNvGrpSpPr/>
            <p:nvPr/>
          </p:nvGrpSpPr>
          <p:grpSpPr>
            <a:xfrm>
              <a:off x="3789177" y="-1077448"/>
              <a:ext cx="1088789" cy="2152587"/>
              <a:chOff x="3789177" y="-1077448"/>
              <a:chExt cx="1088789" cy="2152587"/>
            </a:xfrm>
            <a:solidFill>
              <a:srgbClr val="009EE3"/>
            </a:solidFill>
          </p:grpSpPr>
          <p:sp>
            <p:nvSpPr>
              <p:cNvPr id="130" name="îšḻîḋé"/>
              <p:cNvSpPr/>
              <p:nvPr/>
            </p:nvSpPr>
            <p:spPr>
              <a:xfrm>
                <a:off x="3892325" y="-838175"/>
                <a:ext cx="985642" cy="1913314"/>
              </a:xfrm>
              <a:custGeom>
                <a:avLst/>
                <a:gdLst>
                  <a:gd name="connsiteX0" fmla="*/ 976101 w 985642"/>
                  <a:gd name="connsiteY0" fmla="*/ 1913314 h 1913314"/>
                  <a:gd name="connsiteX1" fmla="*/ 981469 w 985642"/>
                  <a:gd name="connsiteY1" fmla="*/ 1632857 h 1913314"/>
                  <a:gd name="connsiteX2" fmla="*/ 941796 w 985642"/>
                  <a:gd name="connsiteY2" fmla="*/ 1353971 h 1913314"/>
                  <a:gd name="connsiteX3" fmla="*/ 752337 w 985642"/>
                  <a:gd name="connsiteY3" fmla="*/ 822517 h 1913314"/>
                  <a:gd name="connsiteX4" fmla="*/ 683729 w 985642"/>
                  <a:gd name="connsiteY4" fmla="*/ 698655 h 1913314"/>
                  <a:gd name="connsiteX5" fmla="*/ 645889 w 985642"/>
                  <a:gd name="connsiteY5" fmla="*/ 638819 h 1913314"/>
                  <a:gd name="connsiteX6" fmla="*/ 626773 w 985642"/>
                  <a:gd name="connsiteY6" fmla="*/ 609097 h 1913314"/>
                  <a:gd name="connsiteX7" fmla="*/ 606479 w 985642"/>
                  <a:gd name="connsiteY7" fmla="*/ 580161 h 1913314"/>
                  <a:gd name="connsiteX8" fmla="*/ 429982 w 985642"/>
                  <a:gd name="connsiteY8" fmla="*/ 359671 h 1913314"/>
                  <a:gd name="connsiteX9" fmla="*/ 0 w 985642"/>
                  <a:gd name="connsiteY9" fmla="*/ 0 h 1913314"/>
                  <a:gd name="connsiteX10" fmla="*/ 388476 w 985642"/>
                  <a:gd name="connsiteY10" fmla="*/ 395678 h 1913314"/>
                  <a:gd name="connsiteX11" fmla="*/ 551225 w 985642"/>
                  <a:gd name="connsiteY11" fmla="*/ 617739 h 1913314"/>
                  <a:gd name="connsiteX12" fmla="*/ 570341 w 985642"/>
                  <a:gd name="connsiteY12" fmla="*/ 646282 h 1913314"/>
                  <a:gd name="connsiteX13" fmla="*/ 588410 w 985642"/>
                  <a:gd name="connsiteY13" fmla="*/ 675480 h 1913314"/>
                  <a:gd name="connsiteX14" fmla="*/ 624155 w 985642"/>
                  <a:gd name="connsiteY14" fmla="*/ 734138 h 1913314"/>
                  <a:gd name="connsiteX15" fmla="*/ 657935 w 985642"/>
                  <a:gd name="connsiteY15" fmla="*/ 793974 h 1913314"/>
                  <a:gd name="connsiteX16" fmla="*/ 666446 w 985642"/>
                  <a:gd name="connsiteY16" fmla="*/ 808900 h 1913314"/>
                  <a:gd name="connsiteX17" fmla="*/ 674302 w 985642"/>
                  <a:gd name="connsiteY17" fmla="*/ 824219 h 1913314"/>
                  <a:gd name="connsiteX18" fmla="*/ 690013 w 985642"/>
                  <a:gd name="connsiteY18" fmla="*/ 854726 h 1913314"/>
                  <a:gd name="connsiteX19" fmla="*/ 888769 w 985642"/>
                  <a:gd name="connsiteY19" fmla="*/ 1366803 h 1913314"/>
                  <a:gd name="connsiteX20" fmla="*/ 906052 w 985642"/>
                  <a:gd name="connsiteY20" fmla="*/ 1433578 h 1913314"/>
                  <a:gd name="connsiteX21" fmla="*/ 921633 w 985642"/>
                  <a:gd name="connsiteY21" fmla="*/ 1500877 h 1913314"/>
                  <a:gd name="connsiteX22" fmla="*/ 947688 w 985642"/>
                  <a:gd name="connsiteY22" fmla="*/ 1636785 h 1913314"/>
                  <a:gd name="connsiteX23" fmla="*/ 976101 w 985642"/>
                  <a:gd name="connsiteY23" fmla="*/ 1913314 h 1913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985642" h="1913314">
                    <a:moveTo>
                      <a:pt x="976101" y="1913314"/>
                    </a:moveTo>
                    <a:cubicBezTo>
                      <a:pt x="988539" y="1820614"/>
                      <a:pt x="987099" y="1726474"/>
                      <a:pt x="981469" y="1632857"/>
                    </a:cubicBezTo>
                    <a:cubicBezTo>
                      <a:pt x="974660" y="1539241"/>
                      <a:pt x="961567" y="1446017"/>
                      <a:pt x="941796" y="1353971"/>
                    </a:cubicBezTo>
                    <a:cubicBezTo>
                      <a:pt x="902909" y="1169750"/>
                      <a:pt x="839145" y="990241"/>
                      <a:pt x="752337" y="822517"/>
                    </a:cubicBezTo>
                    <a:cubicBezTo>
                      <a:pt x="731126" y="780357"/>
                      <a:pt x="707166" y="739637"/>
                      <a:pt x="683729" y="698655"/>
                    </a:cubicBezTo>
                    <a:cubicBezTo>
                      <a:pt x="671421" y="678491"/>
                      <a:pt x="658459" y="658721"/>
                      <a:pt x="645889" y="638819"/>
                    </a:cubicBezTo>
                    <a:cubicBezTo>
                      <a:pt x="639474" y="628868"/>
                      <a:pt x="633320" y="618786"/>
                      <a:pt x="626773" y="609097"/>
                    </a:cubicBezTo>
                    <a:lnTo>
                      <a:pt x="606479" y="580161"/>
                    </a:lnTo>
                    <a:cubicBezTo>
                      <a:pt x="553189" y="502257"/>
                      <a:pt x="493222" y="429327"/>
                      <a:pt x="429982" y="359671"/>
                    </a:cubicBezTo>
                    <a:cubicBezTo>
                      <a:pt x="302454" y="221276"/>
                      <a:pt x="157904" y="99247"/>
                      <a:pt x="0" y="0"/>
                    </a:cubicBezTo>
                    <a:cubicBezTo>
                      <a:pt x="140490" y="122815"/>
                      <a:pt x="271423" y="253747"/>
                      <a:pt x="388476" y="395678"/>
                    </a:cubicBezTo>
                    <a:cubicBezTo>
                      <a:pt x="445563" y="467690"/>
                      <a:pt x="501733" y="540489"/>
                      <a:pt x="551225" y="617739"/>
                    </a:cubicBezTo>
                    <a:lnTo>
                      <a:pt x="570341" y="646282"/>
                    </a:lnTo>
                    <a:cubicBezTo>
                      <a:pt x="576626" y="655840"/>
                      <a:pt x="582387" y="665791"/>
                      <a:pt x="588410" y="675480"/>
                    </a:cubicBezTo>
                    <a:cubicBezTo>
                      <a:pt x="600325" y="695120"/>
                      <a:pt x="612502" y="714498"/>
                      <a:pt x="624155" y="734138"/>
                    </a:cubicBezTo>
                    <a:lnTo>
                      <a:pt x="657935" y="793974"/>
                    </a:lnTo>
                    <a:lnTo>
                      <a:pt x="666446" y="808900"/>
                    </a:lnTo>
                    <a:lnTo>
                      <a:pt x="674302" y="824219"/>
                    </a:lnTo>
                    <a:lnTo>
                      <a:pt x="690013" y="854726"/>
                    </a:lnTo>
                    <a:cubicBezTo>
                      <a:pt x="774465" y="1017344"/>
                      <a:pt x="840062" y="1189520"/>
                      <a:pt x="888769" y="1366803"/>
                    </a:cubicBezTo>
                    <a:cubicBezTo>
                      <a:pt x="895184" y="1388930"/>
                      <a:pt x="900553" y="1411189"/>
                      <a:pt x="906052" y="1433578"/>
                    </a:cubicBezTo>
                    <a:cubicBezTo>
                      <a:pt x="911813" y="1455837"/>
                      <a:pt x="916395" y="1478357"/>
                      <a:pt x="921633" y="1500877"/>
                    </a:cubicBezTo>
                    <a:cubicBezTo>
                      <a:pt x="931846" y="1545787"/>
                      <a:pt x="940094" y="1591221"/>
                      <a:pt x="947688" y="1636785"/>
                    </a:cubicBezTo>
                    <a:cubicBezTo>
                      <a:pt x="962222" y="1728045"/>
                      <a:pt x="972958" y="1820090"/>
                      <a:pt x="976101" y="1913314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1" name="íṡḻïdé"/>
              <p:cNvSpPr/>
              <p:nvPr/>
            </p:nvSpPr>
            <p:spPr>
              <a:xfrm>
                <a:off x="4418150" y="-974345"/>
                <a:ext cx="94279" cy="683990"/>
              </a:xfrm>
              <a:custGeom>
                <a:avLst/>
                <a:gdLst>
                  <a:gd name="connsiteX0" fmla="*/ 9820 w 94279"/>
                  <a:gd name="connsiteY0" fmla="*/ 683991 h 683990"/>
                  <a:gd name="connsiteX1" fmla="*/ 71358 w 94279"/>
                  <a:gd name="connsiteY1" fmla="*/ 517445 h 683990"/>
                  <a:gd name="connsiteX2" fmla="*/ 94140 w 94279"/>
                  <a:gd name="connsiteY2" fmla="*/ 340162 h 683990"/>
                  <a:gd name="connsiteX3" fmla="*/ 93617 w 94279"/>
                  <a:gd name="connsiteY3" fmla="*/ 295252 h 683990"/>
                  <a:gd name="connsiteX4" fmla="*/ 89951 w 94279"/>
                  <a:gd name="connsiteY4" fmla="*/ 250474 h 683990"/>
                  <a:gd name="connsiteX5" fmla="*/ 73584 w 94279"/>
                  <a:gd name="connsiteY5" fmla="*/ 162094 h 683990"/>
                  <a:gd name="connsiteX6" fmla="*/ 0 w 94279"/>
                  <a:gd name="connsiteY6" fmla="*/ 0 h 683990"/>
                  <a:gd name="connsiteX7" fmla="*/ 45695 w 94279"/>
                  <a:gd name="connsiteY7" fmla="*/ 167986 h 683990"/>
                  <a:gd name="connsiteX8" fmla="*/ 48838 w 94279"/>
                  <a:gd name="connsiteY8" fmla="*/ 189328 h 683990"/>
                  <a:gd name="connsiteX9" fmla="*/ 51718 w 94279"/>
                  <a:gd name="connsiteY9" fmla="*/ 210670 h 683990"/>
                  <a:gd name="connsiteX10" fmla="*/ 55384 w 94279"/>
                  <a:gd name="connsiteY10" fmla="*/ 253616 h 683990"/>
                  <a:gd name="connsiteX11" fmla="*/ 57610 w 94279"/>
                  <a:gd name="connsiteY11" fmla="*/ 339769 h 683990"/>
                  <a:gd name="connsiteX12" fmla="*/ 43470 w 94279"/>
                  <a:gd name="connsiteY12" fmla="*/ 512207 h 683990"/>
                  <a:gd name="connsiteX13" fmla="*/ 9820 w 94279"/>
                  <a:gd name="connsiteY13" fmla="*/ 683991 h 683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4279" h="683990">
                    <a:moveTo>
                      <a:pt x="9820" y="683991"/>
                    </a:moveTo>
                    <a:cubicBezTo>
                      <a:pt x="38101" y="631880"/>
                      <a:pt x="57348" y="575186"/>
                      <a:pt x="71358" y="517445"/>
                    </a:cubicBezTo>
                    <a:cubicBezTo>
                      <a:pt x="85237" y="459573"/>
                      <a:pt x="93486" y="400129"/>
                      <a:pt x="94140" y="340162"/>
                    </a:cubicBezTo>
                    <a:cubicBezTo>
                      <a:pt x="94533" y="325236"/>
                      <a:pt x="94009" y="310179"/>
                      <a:pt x="93617" y="295252"/>
                    </a:cubicBezTo>
                    <a:cubicBezTo>
                      <a:pt x="92569" y="280326"/>
                      <a:pt x="91914" y="265269"/>
                      <a:pt x="89951" y="250474"/>
                    </a:cubicBezTo>
                    <a:cubicBezTo>
                      <a:pt x="86415" y="220752"/>
                      <a:pt x="81571" y="191030"/>
                      <a:pt x="73584" y="162094"/>
                    </a:cubicBezTo>
                    <a:cubicBezTo>
                      <a:pt x="58789" y="104091"/>
                      <a:pt x="34173" y="48445"/>
                      <a:pt x="0" y="0"/>
                    </a:cubicBezTo>
                    <a:cubicBezTo>
                      <a:pt x="20556" y="55515"/>
                      <a:pt x="36530" y="111162"/>
                      <a:pt x="45695" y="167986"/>
                    </a:cubicBezTo>
                    <a:cubicBezTo>
                      <a:pt x="46874" y="175057"/>
                      <a:pt x="48052" y="182127"/>
                      <a:pt x="48838" y="189328"/>
                    </a:cubicBezTo>
                    <a:lnTo>
                      <a:pt x="51718" y="210670"/>
                    </a:lnTo>
                    <a:cubicBezTo>
                      <a:pt x="53158" y="224942"/>
                      <a:pt x="54861" y="239213"/>
                      <a:pt x="55384" y="253616"/>
                    </a:cubicBezTo>
                    <a:cubicBezTo>
                      <a:pt x="57348" y="282290"/>
                      <a:pt x="58134" y="310964"/>
                      <a:pt x="57610" y="339769"/>
                    </a:cubicBezTo>
                    <a:cubicBezTo>
                      <a:pt x="56825" y="397249"/>
                      <a:pt x="51718" y="454859"/>
                      <a:pt x="43470" y="512207"/>
                    </a:cubicBezTo>
                    <a:cubicBezTo>
                      <a:pt x="34828" y="569294"/>
                      <a:pt x="23830" y="626511"/>
                      <a:pt x="9820" y="683991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ïSľídè"/>
              <p:cNvSpPr/>
              <p:nvPr/>
            </p:nvSpPr>
            <p:spPr>
              <a:xfrm>
                <a:off x="3924404" y="-421941"/>
                <a:ext cx="627165" cy="281685"/>
              </a:xfrm>
              <a:custGeom>
                <a:avLst/>
                <a:gdLst>
                  <a:gd name="connsiteX0" fmla="*/ 0 w 627165"/>
                  <a:gd name="connsiteY0" fmla="*/ 0 h 281685"/>
                  <a:gd name="connsiteX1" fmla="*/ 126350 w 627165"/>
                  <a:gd name="connsiteY1" fmla="*/ 124779 h 281685"/>
                  <a:gd name="connsiteX2" fmla="*/ 278362 w 627165"/>
                  <a:gd name="connsiteY2" fmla="*/ 218788 h 281685"/>
                  <a:gd name="connsiteX3" fmla="*/ 319475 w 627165"/>
                  <a:gd name="connsiteY3" fmla="*/ 236857 h 281685"/>
                  <a:gd name="connsiteX4" fmla="*/ 361897 w 627165"/>
                  <a:gd name="connsiteY4" fmla="*/ 252045 h 281685"/>
                  <a:gd name="connsiteX5" fmla="*/ 449229 w 627165"/>
                  <a:gd name="connsiteY5" fmla="*/ 273649 h 281685"/>
                  <a:gd name="connsiteX6" fmla="*/ 627166 w 627165"/>
                  <a:gd name="connsiteY6" fmla="*/ 273518 h 281685"/>
                  <a:gd name="connsiteX7" fmla="*/ 455252 w 627165"/>
                  <a:gd name="connsiteY7" fmla="*/ 245760 h 281685"/>
                  <a:gd name="connsiteX8" fmla="*/ 434564 w 627165"/>
                  <a:gd name="connsiteY8" fmla="*/ 239868 h 281685"/>
                  <a:gd name="connsiteX9" fmla="*/ 413877 w 627165"/>
                  <a:gd name="connsiteY9" fmla="*/ 233714 h 281685"/>
                  <a:gd name="connsiteX10" fmla="*/ 373288 w 627165"/>
                  <a:gd name="connsiteY10" fmla="*/ 219443 h 281685"/>
                  <a:gd name="connsiteX11" fmla="*/ 293943 w 627165"/>
                  <a:gd name="connsiteY11" fmla="*/ 185924 h 281685"/>
                  <a:gd name="connsiteX12" fmla="*/ 142716 w 627165"/>
                  <a:gd name="connsiteY12" fmla="*/ 101865 h 281685"/>
                  <a:gd name="connsiteX13" fmla="*/ 0 w 627165"/>
                  <a:gd name="connsiteY13" fmla="*/ 0 h 281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7165" h="281685">
                    <a:moveTo>
                      <a:pt x="0" y="0"/>
                    </a:moveTo>
                    <a:cubicBezTo>
                      <a:pt x="35875" y="47267"/>
                      <a:pt x="79476" y="88117"/>
                      <a:pt x="126350" y="124779"/>
                    </a:cubicBezTo>
                    <a:cubicBezTo>
                      <a:pt x="173354" y="161309"/>
                      <a:pt x="224156" y="193387"/>
                      <a:pt x="278362" y="218788"/>
                    </a:cubicBezTo>
                    <a:cubicBezTo>
                      <a:pt x="291848" y="225204"/>
                      <a:pt x="305727" y="230965"/>
                      <a:pt x="319475" y="236857"/>
                    </a:cubicBezTo>
                    <a:cubicBezTo>
                      <a:pt x="333616" y="242094"/>
                      <a:pt x="347494" y="247724"/>
                      <a:pt x="361897" y="252045"/>
                    </a:cubicBezTo>
                    <a:cubicBezTo>
                      <a:pt x="390440" y="261079"/>
                      <a:pt x="419507" y="268935"/>
                      <a:pt x="449229" y="273649"/>
                    </a:cubicBezTo>
                    <a:cubicBezTo>
                      <a:pt x="508148" y="284123"/>
                      <a:pt x="569032" y="284647"/>
                      <a:pt x="627166" y="273518"/>
                    </a:cubicBezTo>
                    <a:cubicBezTo>
                      <a:pt x="568115" y="269328"/>
                      <a:pt x="510898" y="260948"/>
                      <a:pt x="455252" y="245760"/>
                    </a:cubicBezTo>
                    <a:cubicBezTo>
                      <a:pt x="448312" y="243927"/>
                      <a:pt x="441373" y="242094"/>
                      <a:pt x="434564" y="239868"/>
                    </a:cubicBezTo>
                    <a:lnTo>
                      <a:pt x="413877" y="233714"/>
                    </a:lnTo>
                    <a:cubicBezTo>
                      <a:pt x="400260" y="229132"/>
                      <a:pt x="386643" y="224680"/>
                      <a:pt x="373288" y="219443"/>
                    </a:cubicBezTo>
                    <a:cubicBezTo>
                      <a:pt x="346447" y="209492"/>
                      <a:pt x="319868" y="198362"/>
                      <a:pt x="293943" y="185924"/>
                    </a:cubicBezTo>
                    <a:cubicBezTo>
                      <a:pt x="241963" y="161440"/>
                      <a:pt x="191554" y="133027"/>
                      <a:pt x="142716" y="101865"/>
                    </a:cubicBezTo>
                    <a:cubicBezTo>
                      <a:pt x="94009" y="70049"/>
                      <a:pt x="46481" y="36399"/>
                      <a:pt x="0" y="0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îŝḻîḍé"/>
              <p:cNvSpPr/>
              <p:nvPr/>
            </p:nvSpPr>
            <p:spPr>
              <a:xfrm>
                <a:off x="4315133" y="-1077448"/>
                <a:ext cx="205902" cy="205858"/>
              </a:xfrm>
              <a:custGeom>
                <a:avLst/>
                <a:gdLst>
                  <a:gd name="connsiteX0" fmla="*/ 3377 w 205902"/>
                  <a:gd name="connsiteY0" fmla="*/ 76917 h 205858"/>
                  <a:gd name="connsiteX1" fmla="*/ 76961 w 205902"/>
                  <a:gd name="connsiteY1" fmla="*/ 202481 h 205858"/>
                  <a:gd name="connsiteX2" fmla="*/ 202525 w 205902"/>
                  <a:gd name="connsiteY2" fmla="*/ 128897 h 205858"/>
                  <a:gd name="connsiteX3" fmla="*/ 128941 w 205902"/>
                  <a:gd name="connsiteY3" fmla="*/ 3333 h 205858"/>
                  <a:gd name="connsiteX4" fmla="*/ 3377 w 205902"/>
                  <a:gd name="connsiteY4" fmla="*/ 76917 h 205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902" h="205858">
                    <a:moveTo>
                      <a:pt x="3377" y="76917"/>
                    </a:moveTo>
                    <a:cubicBezTo>
                      <a:pt x="-11025" y="131909"/>
                      <a:pt x="21970" y="188210"/>
                      <a:pt x="76961" y="202481"/>
                    </a:cubicBezTo>
                    <a:cubicBezTo>
                      <a:pt x="131953" y="216884"/>
                      <a:pt x="188254" y="183889"/>
                      <a:pt x="202525" y="128897"/>
                    </a:cubicBezTo>
                    <a:cubicBezTo>
                      <a:pt x="216928" y="73906"/>
                      <a:pt x="183933" y="17605"/>
                      <a:pt x="128941" y="3333"/>
                    </a:cubicBezTo>
                    <a:cubicBezTo>
                      <a:pt x="73950" y="-10938"/>
                      <a:pt x="17780" y="21926"/>
                      <a:pt x="3377" y="76917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î$lîḋê"/>
              <p:cNvSpPr/>
              <p:nvPr/>
            </p:nvSpPr>
            <p:spPr>
              <a:xfrm>
                <a:off x="3866297" y="-522732"/>
                <a:ext cx="205902" cy="205902"/>
              </a:xfrm>
              <a:custGeom>
                <a:avLst/>
                <a:gdLst>
                  <a:gd name="connsiteX0" fmla="*/ 3377 w 205902"/>
                  <a:gd name="connsiteY0" fmla="*/ 76961 h 205902"/>
                  <a:gd name="connsiteX1" fmla="*/ 76961 w 205902"/>
                  <a:gd name="connsiteY1" fmla="*/ 202526 h 205902"/>
                  <a:gd name="connsiteX2" fmla="*/ 202525 w 205902"/>
                  <a:gd name="connsiteY2" fmla="*/ 128941 h 205902"/>
                  <a:gd name="connsiteX3" fmla="*/ 128941 w 205902"/>
                  <a:gd name="connsiteY3" fmla="*/ 3377 h 205902"/>
                  <a:gd name="connsiteX4" fmla="*/ 3377 w 205902"/>
                  <a:gd name="connsiteY4" fmla="*/ 76961 h 205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902" h="205902">
                    <a:moveTo>
                      <a:pt x="3377" y="76961"/>
                    </a:moveTo>
                    <a:cubicBezTo>
                      <a:pt x="-11025" y="131953"/>
                      <a:pt x="21970" y="188123"/>
                      <a:pt x="76961" y="202526"/>
                    </a:cubicBezTo>
                    <a:cubicBezTo>
                      <a:pt x="131953" y="216928"/>
                      <a:pt x="188254" y="183933"/>
                      <a:pt x="202525" y="128941"/>
                    </a:cubicBezTo>
                    <a:cubicBezTo>
                      <a:pt x="216928" y="73950"/>
                      <a:pt x="183933" y="17649"/>
                      <a:pt x="128941" y="3377"/>
                    </a:cubicBezTo>
                    <a:cubicBezTo>
                      <a:pt x="74081" y="-11025"/>
                      <a:pt x="17780" y="21970"/>
                      <a:pt x="3377" y="76961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iṧḻîḓe"/>
              <p:cNvSpPr/>
              <p:nvPr/>
            </p:nvSpPr>
            <p:spPr>
              <a:xfrm>
                <a:off x="3789177" y="-941148"/>
                <a:ext cx="205902" cy="205858"/>
              </a:xfrm>
              <a:custGeom>
                <a:avLst/>
                <a:gdLst>
                  <a:gd name="connsiteX0" fmla="*/ 3377 w 205902"/>
                  <a:gd name="connsiteY0" fmla="*/ 76917 h 205858"/>
                  <a:gd name="connsiteX1" fmla="*/ 76961 w 205902"/>
                  <a:gd name="connsiteY1" fmla="*/ 202481 h 205858"/>
                  <a:gd name="connsiteX2" fmla="*/ 202525 w 205902"/>
                  <a:gd name="connsiteY2" fmla="*/ 128897 h 205858"/>
                  <a:gd name="connsiteX3" fmla="*/ 128941 w 205902"/>
                  <a:gd name="connsiteY3" fmla="*/ 3333 h 205858"/>
                  <a:gd name="connsiteX4" fmla="*/ 3377 w 205902"/>
                  <a:gd name="connsiteY4" fmla="*/ 76917 h 205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902" h="205858">
                    <a:moveTo>
                      <a:pt x="3377" y="76917"/>
                    </a:moveTo>
                    <a:cubicBezTo>
                      <a:pt x="-11025" y="131909"/>
                      <a:pt x="21970" y="188210"/>
                      <a:pt x="76961" y="202481"/>
                    </a:cubicBezTo>
                    <a:cubicBezTo>
                      <a:pt x="131953" y="216884"/>
                      <a:pt x="188254" y="183889"/>
                      <a:pt x="202525" y="128897"/>
                    </a:cubicBezTo>
                    <a:cubicBezTo>
                      <a:pt x="216928" y="73906"/>
                      <a:pt x="183933" y="17605"/>
                      <a:pt x="128941" y="3333"/>
                    </a:cubicBezTo>
                    <a:cubicBezTo>
                      <a:pt x="73950" y="-10938"/>
                      <a:pt x="17780" y="21926"/>
                      <a:pt x="3377" y="76917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" name="图形 7"/>
            <p:cNvGrpSpPr/>
            <p:nvPr/>
          </p:nvGrpSpPr>
          <p:grpSpPr>
            <a:xfrm>
              <a:off x="4689441" y="-1993915"/>
              <a:ext cx="2529743" cy="4395005"/>
              <a:chOff x="4689441" y="-1993915"/>
              <a:chExt cx="2529743" cy="4395005"/>
            </a:xfrm>
            <a:solidFill>
              <a:schemeClr val="accent1"/>
            </a:solidFill>
          </p:grpSpPr>
          <p:sp>
            <p:nvSpPr>
              <p:cNvPr id="115" name="íṧlîdé"/>
              <p:cNvSpPr/>
              <p:nvPr/>
            </p:nvSpPr>
            <p:spPr>
              <a:xfrm>
                <a:off x="4754908" y="-1337944"/>
                <a:ext cx="2464277" cy="3739034"/>
              </a:xfrm>
              <a:custGeom>
                <a:avLst/>
                <a:gdLst>
                  <a:gd name="connsiteX0" fmla="*/ 2338321 w 2464277"/>
                  <a:gd name="connsiteY0" fmla="*/ 3739035 h 3739034"/>
                  <a:gd name="connsiteX1" fmla="*/ 125957 w 2464277"/>
                  <a:gd name="connsiteY1" fmla="*/ 3739035 h 3739034"/>
                  <a:gd name="connsiteX2" fmla="*/ 0 w 2464277"/>
                  <a:gd name="connsiteY2" fmla="*/ 3613078 h 3739034"/>
                  <a:gd name="connsiteX3" fmla="*/ 0 w 2464277"/>
                  <a:gd name="connsiteY3" fmla="*/ 125957 h 3739034"/>
                  <a:gd name="connsiteX4" fmla="*/ 125957 w 2464277"/>
                  <a:gd name="connsiteY4" fmla="*/ 0 h 3739034"/>
                  <a:gd name="connsiteX5" fmla="*/ 2338321 w 2464277"/>
                  <a:gd name="connsiteY5" fmla="*/ 0 h 3739034"/>
                  <a:gd name="connsiteX6" fmla="*/ 2464278 w 2464277"/>
                  <a:gd name="connsiteY6" fmla="*/ 125957 h 3739034"/>
                  <a:gd name="connsiteX7" fmla="*/ 2464278 w 2464277"/>
                  <a:gd name="connsiteY7" fmla="*/ 3613078 h 3739034"/>
                  <a:gd name="connsiteX8" fmla="*/ 2338321 w 2464277"/>
                  <a:gd name="connsiteY8" fmla="*/ 3739035 h 3739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64277" h="3739034">
                    <a:moveTo>
                      <a:pt x="2338321" y="3739035"/>
                    </a:moveTo>
                    <a:lnTo>
                      <a:pt x="125957" y="3739035"/>
                    </a:lnTo>
                    <a:cubicBezTo>
                      <a:pt x="56432" y="3739035"/>
                      <a:pt x="0" y="3682603"/>
                      <a:pt x="0" y="3613078"/>
                    </a:cubicBezTo>
                    <a:lnTo>
                      <a:pt x="0" y="125957"/>
                    </a:lnTo>
                    <a:cubicBezTo>
                      <a:pt x="0" y="56432"/>
                      <a:pt x="56432" y="0"/>
                      <a:pt x="125957" y="0"/>
                    </a:cubicBezTo>
                    <a:lnTo>
                      <a:pt x="2338321" y="0"/>
                    </a:lnTo>
                    <a:cubicBezTo>
                      <a:pt x="2407846" y="0"/>
                      <a:pt x="2464278" y="56432"/>
                      <a:pt x="2464278" y="125957"/>
                    </a:cubicBezTo>
                    <a:lnTo>
                      <a:pt x="2464278" y="3613078"/>
                    </a:lnTo>
                    <a:cubicBezTo>
                      <a:pt x="2464278" y="3682603"/>
                      <a:pt x="2407846" y="3739035"/>
                      <a:pt x="2338321" y="3739035"/>
                    </a:cubicBezTo>
                    <a:close/>
                  </a:path>
                </a:pathLst>
              </a:custGeom>
              <a:solidFill>
                <a:srgbClr val="595959">
                  <a:alpha val="12000"/>
                </a:srgbClr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16" name="图形 7"/>
              <p:cNvGrpSpPr/>
              <p:nvPr/>
            </p:nvGrpSpPr>
            <p:grpSpPr>
              <a:xfrm>
                <a:off x="4689441" y="-1993915"/>
                <a:ext cx="2464277" cy="4340537"/>
                <a:chOff x="4689441" y="-1993915"/>
                <a:chExt cx="2464277" cy="4340537"/>
              </a:xfrm>
              <a:solidFill>
                <a:schemeClr val="accent1"/>
              </a:solidFill>
            </p:grpSpPr>
            <p:grpSp>
              <p:nvGrpSpPr>
                <p:cNvPr id="117" name="图形 7"/>
                <p:cNvGrpSpPr/>
                <p:nvPr/>
              </p:nvGrpSpPr>
              <p:grpSpPr>
                <a:xfrm>
                  <a:off x="4689441" y="-1993915"/>
                  <a:ext cx="2464277" cy="4340537"/>
                  <a:chOff x="4689441" y="-1993915"/>
                  <a:chExt cx="2464277" cy="4340537"/>
                </a:xfrm>
                <a:solidFill>
                  <a:schemeClr val="accent1"/>
                </a:solidFill>
              </p:grpSpPr>
              <p:sp>
                <p:nvSpPr>
                  <p:cNvPr id="126" name="iṧļîḑé"/>
                  <p:cNvSpPr/>
                  <p:nvPr/>
                </p:nvSpPr>
                <p:spPr>
                  <a:xfrm>
                    <a:off x="4689441" y="-1392412"/>
                    <a:ext cx="2464277" cy="3739034"/>
                  </a:xfrm>
                  <a:custGeom>
                    <a:avLst/>
                    <a:gdLst>
                      <a:gd name="connsiteX0" fmla="*/ 2338321 w 2464277"/>
                      <a:gd name="connsiteY0" fmla="*/ 3739035 h 3739034"/>
                      <a:gd name="connsiteX1" fmla="*/ 125957 w 2464277"/>
                      <a:gd name="connsiteY1" fmla="*/ 3739035 h 3739034"/>
                      <a:gd name="connsiteX2" fmla="*/ 0 w 2464277"/>
                      <a:gd name="connsiteY2" fmla="*/ 3613078 h 3739034"/>
                      <a:gd name="connsiteX3" fmla="*/ 0 w 2464277"/>
                      <a:gd name="connsiteY3" fmla="*/ 125957 h 3739034"/>
                      <a:gd name="connsiteX4" fmla="*/ 125957 w 2464277"/>
                      <a:gd name="connsiteY4" fmla="*/ 0 h 3739034"/>
                      <a:gd name="connsiteX5" fmla="*/ 2338321 w 2464277"/>
                      <a:gd name="connsiteY5" fmla="*/ 0 h 3739034"/>
                      <a:gd name="connsiteX6" fmla="*/ 2464278 w 2464277"/>
                      <a:gd name="connsiteY6" fmla="*/ 125957 h 3739034"/>
                      <a:gd name="connsiteX7" fmla="*/ 2464278 w 2464277"/>
                      <a:gd name="connsiteY7" fmla="*/ 3613078 h 3739034"/>
                      <a:gd name="connsiteX8" fmla="*/ 2338321 w 2464277"/>
                      <a:gd name="connsiteY8" fmla="*/ 3739035 h 37390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464277" h="3739034">
                        <a:moveTo>
                          <a:pt x="2338321" y="3739035"/>
                        </a:moveTo>
                        <a:lnTo>
                          <a:pt x="125957" y="3739035"/>
                        </a:lnTo>
                        <a:cubicBezTo>
                          <a:pt x="56432" y="3739035"/>
                          <a:pt x="0" y="3682603"/>
                          <a:pt x="0" y="3613078"/>
                        </a:cubicBezTo>
                        <a:lnTo>
                          <a:pt x="0" y="125957"/>
                        </a:lnTo>
                        <a:cubicBezTo>
                          <a:pt x="0" y="56432"/>
                          <a:pt x="56432" y="0"/>
                          <a:pt x="125957" y="0"/>
                        </a:cubicBezTo>
                        <a:lnTo>
                          <a:pt x="2338321" y="0"/>
                        </a:lnTo>
                        <a:cubicBezTo>
                          <a:pt x="2407846" y="0"/>
                          <a:pt x="2464278" y="56432"/>
                          <a:pt x="2464278" y="125957"/>
                        </a:cubicBezTo>
                        <a:lnTo>
                          <a:pt x="2464278" y="3613078"/>
                        </a:lnTo>
                        <a:cubicBezTo>
                          <a:pt x="2464278" y="3682603"/>
                          <a:pt x="2407846" y="3739035"/>
                          <a:pt x="2338321" y="3739035"/>
                        </a:cubicBezTo>
                        <a:close/>
                      </a:path>
                    </a:pathLst>
                  </a:custGeom>
                  <a:solidFill>
                    <a:srgbClr val="009EE3"/>
                  </a:solidFill>
                  <a:ln w="1308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" name="i$ḻidè"/>
                  <p:cNvSpPr/>
                  <p:nvPr/>
                </p:nvSpPr>
                <p:spPr>
                  <a:xfrm>
                    <a:off x="4934939" y="-1073984"/>
                    <a:ext cx="1973412" cy="3198807"/>
                  </a:xfrm>
                  <a:custGeom>
                    <a:avLst/>
                    <a:gdLst>
                      <a:gd name="connsiteX0" fmla="*/ 1905982 w 1973412"/>
                      <a:gd name="connsiteY0" fmla="*/ 0 h 3198807"/>
                      <a:gd name="connsiteX1" fmla="*/ 67430 w 1973412"/>
                      <a:gd name="connsiteY1" fmla="*/ 0 h 3198807"/>
                      <a:gd name="connsiteX2" fmla="*/ 0 w 1973412"/>
                      <a:gd name="connsiteY2" fmla="*/ 69918 h 3198807"/>
                      <a:gd name="connsiteX3" fmla="*/ 0 w 1973412"/>
                      <a:gd name="connsiteY3" fmla="*/ 3128890 h 3198807"/>
                      <a:gd name="connsiteX4" fmla="*/ 67430 w 1973412"/>
                      <a:gd name="connsiteY4" fmla="*/ 3198808 h 3198807"/>
                      <a:gd name="connsiteX5" fmla="*/ 1905982 w 1973412"/>
                      <a:gd name="connsiteY5" fmla="*/ 3198808 h 3198807"/>
                      <a:gd name="connsiteX6" fmla="*/ 1973412 w 1973412"/>
                      <a:gd name="connsiteY6" fmla="*/ 3128890 h 3198807"/>
                      <a:gd name="connsiteX7" fmla="*/ 1973412 w 1973412"/>
                      <a:gd name="connsiteY7" fmla="*/ 70049 h 3198807"/>
                      <a:gd name="connsiteX8" fmla="*/ 1905982 w 1973412"/>
                      <a:gd name="connsiteY8" fmla="*/ 0 h 31988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973412" h="3198807">
                        <a:moveTo>
                          <a:pt x="1905982" y="0"/>
                        </a:moveTo>
                        <a:lnTo>
                          <a:pt x="67430" y="0"/>
                        </a:lnTo>
                        <a:cubicBezTo>
                          <a:pt x="30245" y="0"/>
                          <a:pt x="0" y="31293"/>
                          <a:pt x="0" y="69918"/>
                        </a:cubicBezTo>
                        <a:lnTo>
                          <a:pt x="0" y="3128890"/>
                        </a:lnTo>
                        <a:cubicBezTo>
                          <a:pt x="0" y="3167515"/>
                          <a:pt x="30245" y="3198808"/>
                          <a:pt x="67430" y="3198808"/>
                        </a:cubicBezTo>
                        <a:lnTo>
                          <a:pt x="1905982" y="3198808"/>
                        </a:lnTo>
                        <a:cubicBezTo>
                          <a:pt x="1943167" y="3198808"/>
                          <a:pt x="1973412" y="3167515"/>
                          <a:pt x="1973412" y="3128890"/>
                        </a:cubicBezTo>
                        <a:lnTo>
                          <a:pt x="1973412" y="70049"/>
                        </a:lnTo>
                        <a:cubicBezTo>
                          <a:pt x="1973412" y="31293"/>
                          <a:pt x="1943167" y="0"/>
                          <a:pt x="1905982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1308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" name="íSľídê"/>
                  <p:cNvSpPr/>
                  <p:nvPr/>
                </p:nvSpPr>
                <p:spPr>
                  <a:xfrm>
                    <a:off x="5340961" y="-1926616"/>
                    <a:ext cx="1161369" cy="671813"/>
                  </a:xfrm>
                  <a:custGeom>
                    <a:avLst/>
                    <a:gdLst>
                      <a:gd name="connsiteX0" fmla="*/ 989587 w 1161369"/>
                      <a:gd name="connsiteY0" fmla="*/ 308346 h 671813"/>
                      <a:gd name="connsiteX1" fmla="*/ 741339 w 1161369"/>
                      <a:gd name="connsiteY1" fmla="*/ 308346 h 671813"/>
                      <a:gd name="connsiteX2" fmla="*/ 782059 w 1161369"/>
                      <a:gd name="connsiteY2" fmla="*/ 190899 h 671813"/>
                      <a:gd name="connsiteX3" fmla="*/ 591160 w 1161369"/>
                      <a:gd name="connsiteY3" fmla="*/ 0 h 671813"/>
                      <a:gd name="connsiteX4" fmla="*/ 400260 w 1161369"/>
                      <a:gd name="connsiteY4" fmla="*/ 190899 h 671813"/>
                      <a:gd name="connsiteX5" fmla="*/ 440980 w 1161369"/>
                      <a:gd name="connsiteY5" fmla="*/ 308346 h 671813"/>
                      <a:gd name="connsiteX6" fmla="*/ 171652 w 1161369"/>
                      <a:gd name="connsiteY6" fmla="*/ 308346 h 671813"/>
                      <a:gd name="connsiteX7" fmla="*/ 0 w 1161369"/>
                      <a:gd name="connsiteY7" fmla="*/ 671814 h 671813"/>
                      <a:gd name="connsiteX8" fmla="*/ 1161370 w 1161369"/>
                      <a:gd name="connsiteY8" fmla="*/ 671814 h 671813"/>
                      <a:gd name="connsiteX9" fmla="*/ 989587 w 1161369"/>
                      <a:gd name="connsiteY9" fmla="*/ 308346 h 671813"/>
                      <a:gd name="connsiteX10" fmla="*/ 591160 w 1161369"/>
                      <a:gd name="connsiteY10" fmla="*/ 80262 h 671813"/>
                      <a:gd name="connsiteX11" fmla="*/ 701667 w 1161369"/>
                      <a:gd name="connsiteY11" fmla="*/ 190768 h 671813"/>
                      <a:gd name="connsiteX12" fmla="*/ 591160 w 1161369"/>
                      <a:gd name="connsiteY12" fmla="*/ 301275 h 671813"/>
                      <a:gd name="connsiteX13" fmla="*/ 480653 w 1161369"/>
                      <a:gd name="connsiteY13" fmla="*/ 190768 h 671813"/>
                      <a:gd name="connsiteX14" fmla="*/ 591160 w 1161369"/>
                      <a:gd name="connsiteY14" fmla="*/ 80262 h 6718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161369" h="671813">
                        <a:moveTo>
                          <a:pt x="989587" y="308346"/>
                        </a:moveTo>
                        <a:lnTo>
                          <a:pt x="741339" y="308346"/>
                        </a:lnTo>
                        <a:cubicBezTo>
                          <a:pt x="766740" y="275874"/>
                          <a:pt x="782059" y="235154"/>
                          <a:pt x="782059" y="190899"/>
                        </a:cubicBezTo>
                        <a:cubicBezTo>
                          <a:pt x="782059" y="85630"/>
                          <a:pt x="696429" y="0"/>
                          <a:pt x="591160" y="0"/>
                        </a:cubicBezTo>
                        <a:cubicBezTo>
                          <a:pt x="485890" y="0"/>
                          <a:pt x="400260" y="85630"/>
                          <a:pt x="400260" y="190899"/>
                        </a:cubicBezTo>
                        <a:cubicBezTo>
                          <a:pt x="400260" y="235154"/>
                          <a:pt x="415579" y="275874"/>
                          <a:pt x="440980" y="308346"/>
                        </a:cubicBezTo>
                        <a:lnTo>
                          <a:pt x="171652" y="308346"/>
                        </a:lnTo>
                        <a:lnTo>
                          <a:pt x="0" y="671814"/>
                        </a:lnTo>
                        <a:lnTo>
                          <a:pt x="1161370" y="671814"/>
                        </a:lnTo>
                        <a:lnTo>
                          <a:pt x="989587" y="308346"/>
                        </a:lnTo>
                        <a:close/>
                        <a:moveTo>
                          <a:pt x="591160" y="80262"/>
                        </a:moveTo>
                        <a:cubicBezTo>
                          <a:pt x="652043" y="80262"/>
                          <a:pt x="701667" y="129885"/>
                          <a:pt x="701667" y="190768"/>
                        </a:cubicBezTo>
                        <a:cubicBezTo>
                          <a:pt x="701667" y="251652"/>
                          <a:pt x="652043" y="301275"/>
                          <a:pt x="591160" y="301275"/>
                        </a:cubicBezTo>
                        <a:cubicBezTo>
                          <a:pt x="530276" y="301275"/>
                          <a:pt x="480653" y="251652"/>
                          <a:pt x="480653" y="190768"/>
                        </a:cubicBezTo>
                        <a:cubicBezTo>
                          <a:pt x="480653" y="129885"/>
                          <a:pt x="530276" y="80262"/>
                          <a:pt x="591160" y="80262"/>
                        </a:cubicBezTo>
                        <a:close/>
                      </a:path>
                    </a:pathLst>
                  </a:custGeom>
                  <a:solidFill>
                    <a:srgbClr val="595959">
                      <a:alpha val="12000"/>
                    </a:srgbClr>
                  </a:solidFill>
                  <a:ln w="1308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" name="íṧ1iḓè"/>
                  <p:cNvSpPr/>
                  <p:nvPr/>
                </p:nvSpPr>
                <p:spPr>
                  <a:xfrm>
                    <a:off x="5340961" y="-1993915"/>
                    <a:ext cx="1161369" cy="671813"/>
                  </a:xfrm>
                  <a:custGeom>
                    <a:avLst/>
                    <a:gdLst>
                      <a:gd name="connsiteX0" fmla="*/ 989587 w 1161369"/>
                      <a:gd name="connsiteY0" fmla="*/ 308346 h 671813"/>
                      <a:gd name="connsiteX1" fmla="*/ 741339 w 1161369"/>
                      <a:gd name="connsiteY1" fmla="*/ 308346 h 671813"/>
                      <a:gd name="connsiteX2" fmla="*/ 782059 w 1161369"/>
                      <a:gd name="connsiteY2" fmla="*/ 190899 h 671813"/>
                      <a:gd name="connsiteX3" fmla="*/ 591160 w 1161369"/>
                      <a:gd name="connsiteY3" fmla="*/ 0 h 671813"/>
                      <a:gd name="connsiteX4" fmla="*/ 400260 w 1161369"/>
                      <a:gd name="connsiteY4" fmla="*/ 190899 h 671813"/>
                      <a:gd name="connsiteX5" fmla="*/ 440980 w 1161369"/>
                      <a:gd name="connsiteY5" fmla="*/ 308346 h 671813"/>
                      <a:gd name="connsiteX6" fmla="*/ 171652 w 1161369"/>
                      <a:gd name="connsiteY6" fmla="*/ 308346 h 671813"/>
                      <a:gd name="connsiteX7" fmla="*/ 0 w 1161369"/>
                      <a:gd name="connsiteY7" fmla="*/ 671814 h 671813"/>
                      <a:gd name="connsiteX8" fmla="*/ 1161370 w 1161369"/>
                      <a:gd name="connsiteY8" fmla="*/ 671814 h 671813"/>
                      <a:gd name="connsiteX9" fmla="*/ 989587 w 1161369"/>
                      <a:gd name="connsiteY9" fmla="*/ 308346 h 671813"/>
                      <a:gd name="connsiteX10" fmla="*/ 591160 w 1161369"/>
                      <a:gd name="connsiteY10" fmla="*/ 80392 h 671813"/>
                      <a:gd name="connsiteX11" fmla="*/ 701667 w 1161369"/>
                      <a:gd name="connsiteY11" fmla="*/ 190899 h 671813"/>
                      <a:gd name="connsiteX12" fmla="*/ 591160 w 1161369"/>
                      <a:gd name="connsiteY12" fmla="*/ 301406 h 671813"/>
                      <a:gd name="connsiteX13" fmla="*/ 480653 w 1161369"/>
                      <a:gd name="connsiteY13" fmla="*/ 190899 h 671813"/>
                      <a:gd name="connsiteX14" fmla="*/ 591160 w 1161369"/>
                      <a:gd name="connsiteY14" fmla="*/ 80392 h 6718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161369" h="671813">
                        <a:moveTo>
                          <a:pt x="989587" y="308346"/>
                        </a:moveTo>
                        <a:lnTo>
                          <a:pt x="741339" y="308346"/>
                        </a:lnTo>
                        <a:cubicBezTo>
                          <a:pt x="766740" y="275874"/>
                          <a:pt x="782059" y="235154"/>
                          <a:pt x="782059" y="190899"/>
                        </a:cubicBezTo>
                        <a:cubicBezTo>
                          <a:pt x="782059" y="85630"/>
                          <a:pt x="696429" y="0"/>
                          <a:pt x="591160" y="0"/>
                        </a:cubicBezTo>
                        <a:cubicBezTo>
                          <a:pt x="485890" y="0"/>
                          <a:pt x="400260" y="85630"/>
                          <a:pt x="400260" y="190899"/>
                        </a:cubicBezTo>
                        <a:cubicBezTo>
                          <a:pt x="400260" y="235154"/>
                          <a:pt x="415579" y="275874"/>
                          <a:pt x="440980" y="308346"/>
                        </a:cubicBezTo>
                        <a:lnTo>
                          <a:pt x="171652" y="308346"/>
                        </a:lnTo>
                        <a:lnTo>
                          <a:pt x="0" y="671814"/>
                        </a:lnTo>
                        <a:lnTo>
                          <a:pt x="1161370" y="671814"/>
                        </a:lnTo>
                        <a:lnTo>
                          <a:pt x="989587" y="308346"/>
                        </a:lnTo>
                        <a:close/>
                        <a:moveTo>
                          <a:pt x="591160" y="80392"/>
                        </a:moveTo>
                        <a:cubicBezTo>
                          <a:pt x="652043" y="80392"/>
                          <a:pt x="701667" y="130016"/>
                          <a:pt x="701667" y="190899"/>
                        </a:cubicBezTo>
                        <a:cubicBezTo>
                          <a:pt x="701667" y="251783"/>
                          <a:pt x="652043" y="301406"/>
                          <a:pt x="591160" y="301406"/>
                        </a:cubicBezTo>
                        <a:cubicBezTo>
                          <a:pt x="530276" y="301406"/>
                          <a:pt x="480653" y="251783"/>
                          <a:pt x="480653" y="190899"/>
                        </a:cubicBezTo>
                        <a:cubicBezTo>
                          <a:pt x="480653" y="130016"/>
                          <a:pt x="530276" y="80392"/>
                          <a:pt x="591160" y="80392"/>
                        </a:cubicBezTo>
                        <a:close/>
                      </a:path>
                    </a:pathLst>
                  </a:custGeom>
                  <a:solidFill>
                    <a:srgbClr val="006ED1"/>
                  </a:solidFill>
                  <a:ln w="1308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18" name="图形 7"/>
                <p:cNvGrpSpPr/>
                <p:nvPr/>
              </p:nvGrpSpPr>
              <p:grpSpPr>
                <a:xfrm>
                  <a:off x="5074775" y="145649"/>
                  <a:ext cx="1085952" cy="426577"/>
                  <a:chOff x="5074775" y="145649"/>
                  <a:chExt cx="1085952" cy="426577"/>
                </a:xfrm>
                <a:solidFill>
                  <a:srgbClr val="7A7A7A"/>
                </a:solidFill>
              </p:grpSpPr>
              <p:grpSp>
                <p:nvGrpSpPr>
                  <p:cNvPr id="120" name="图形 7"/>
                  <p:cNvGrpSpPr/>
                  <p:nvPr/>
                </p:nvGrpSpPr>
                <p:grpSpPr>
                  <a:xfrm>
                    <a:off x="5074775" y="145649"/>
                    <a:ext cx="1085952" cy="166938"/>
                    <a:chOff x="5074775" y="145649"/>
                    <a:chExt cx="1085952" cy="166938"/>
                  </a:xfrm>
                  <a:solidFill>
                    <a:srgbClr val="7A7A7A"/>
                  </a:solidFill>
                </p:grpSpPr>
                <p:sp>
                  <p:nvSpPr>
                    <p:cNvPr id="124" name="ïṡľídè"/>
                    <p:cNvSpPr/>
                    <p:nvPr/>
                  </p:nvSpPr>
                  <p:spPr>
                    <a:xfrm>
                      <a:off x="5074775" y="145649"/>
                      <a:ext cx="1085952" cy="48706"/>
                    </a:xfrm>
                    <a:custGeom>
                      <a:avLst/>
                      <a:gdLst>
                        <a:gd name="connsiteX0" fmla="*/ 0 w 1085952"/>
                        <a:gd name="connsiteY0" fmla="*/ 0 h 48706"/>
                        <a:gd name="connsiteX1" fmla="*/ 1085953 w 1085952"/>
                        <a:gd name="connsiteY1" fmla="*/ 0 h 48706"/>
                        <a:gd name="connsiteX2" fmla="*/ 1085953 w 1085952"/>
                        <a:gd name="connsiteY2" fmla="*/ 48707 h 48706"/>
                        <a:gd name="connsiteX3" fmla="*/ 0 w 1085952"/>
                        <a:gd name="connsiteY3" fmla="*/ 48707 h 487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085952" h="48706">
                          <a:moveTo>
                            <a:pt x="0" y="0"/>
                          </a:moveTo>
                          <a:lnTo>
                            <a:pt x="1085953" y="0"/>
                          </a:lnTo>
                          <a:lnTo>
                            <a:pt x="1085953" y="48707"/>
                          </a:lnTo>
                          <a:lnTo>
                            <a:pt x="0" y="48707"/>
                          </a:lnTo>
                          <a:close/>
                        </a:path>
                      </a:pathLst>
                    </a:custGeom>
                    <a:solidFill>
                      <a:srgbClr val="7A7A7A"/>
                    </a:solidFill>
                    <a:ln w="1308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25" name="işļiḍé"/>
                    <p:cNvSpPr/>
                    <p:nvPr/>
                  </p:nvSpPr>
                  <p:spPr>
                    <a:xfrm>
                      <a:off x="5074775" y="263881"/>
                      <a:ext cx="1085952" cy="48706"/>
                    </a:xfrm>
                    <a:custGeom>
                      <a:avLst/>
                      <a:gdLst>
                        <a:gd name="connsiteX0" fmla="*/ 0 w 1085952"/>
                        <a:gd name="connsiteY0" fmla="*/ 0 h 48706"/>
                        <a:gd name="connsiteX1" fmla="*/ 1085953 w 1085952"/>
                        <a:gd name="connsiteY1" fmla="*/ 0 h 48706"/>
                        <a:gd name="connsiteX2" fmla="*/ 1085953 w 1085952"/>
                        <a:gd name="connsiteY2" fmla="*/ 48707 h 48706"/>
                        <a:gd name="connsiteX3" fmla="*/ 0 w 1085952"/>
                        <a:gd name="connsiteY3" fmla="*/ 48707 h 487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085952" h="48706">
                          <a:moveTo>
                            <a:pt x="0" y="0"/>
                          </a:moveTo>
                          <a:lnTo>
                            <a:pt x="1085953" y="0"/>
                          </a:lnTo>
                          <a:lnTo>
                            <a:pt x="1085953" y="48707"/>
                          </a:lnTo>
                          <a:lnTo>
                            <a:pt x="0" y="48707"/>
                          </a:lnTo>
                          <a:close/>
                        </a:path>
                      </a:pathLst>
                    </a:custGeom>
                    <a:solidFill>
                      <a:srgbClr val="7A7A7A"/>
                    </a:solidFill>
                    <a:ln w="1308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grpSp>
                <p:nvGrpSpPr>
                  <p:cNvPr id="121" name="图形 7"/>
                  <p:cNvGrpSpPr/>
                  <p:nvPr/>
                </p:nvGrpSpPr>
                <p:grpSpPr>
                  <a:xfrm>
                    <a:off x="5074775" y="405419"/>
                    <a:ext cx="1085952" cy="166807"/>
                    <a:chOff x="5074775" y="405419"/>
                    <a:chExt cx="1085952" cy="166807"/>
                  </a:xfrm>
                  <a:solidFill>
                    <a:srgbClr val="7A7A7A"/>
                  </a:solidFill>
                </p:grpSpPr>
                <p:sp>
                  <p:nvSpPr>
                    <p:cNvPr id="122" name="ïSļîḍê"/>
                    <p:cNvSpPr/>
                    <p:nvPr/>
                  </p:nvSpPr>
                  <p:spPr>
                    <a:xfrm>
                      <a:off x="5074775" y="405419"/>
                      <a:ext cx="1085952" cy="48706"/>
                    </a:xfrm>
                    <a:custGeom>
                      <a:avLst/>
                      <a:gdLst>
                        <a:gd name="connsiteX0" fmla="*/ 0 w 1085952"/>
                        <a:gd name="connsiteY0" fmla="*/ 0 h 48706"/>
                        <a:gd name="connsiteX1" fmla="*/ 1085953 w 1085952"/>
                        <a:gd name="connsiteY1" fmla="*/ 0 h 48706"/>
                        <a:gd name="connsiteX2" fmla="*/ 1085953 w 1085952"/>
                        <a:gd name="connsiteY2" fmla="*/ 48707 h 48706"/>
                        <a:gd name="connsiteX3" fmla="*/ 0 w 1085952"/>
                        <a:gd name="connsiteY3" fmla="*/ 48707 h 487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085952" h="48706">
                          <a:moveTo>
                            <a:pt x="0" y="0"/>
                          </a:moveTo>
                          <a:lnTo>
                            <a:pt x="1085953" y="0"/>
                          </a:lnTo>
                          <a:lnTo>
                            <a:pt x="1085953" y="48707"/>
                          </a:lnTo>
                          <a:lnTo>
                            <a:pt x="0" y="48707"/>
                          </a:lnTo>
                          <a:close/>
                        </a:path>
                      </a:pathLst>
                    </a:custGeom>
                    <a:solidFill>
                      <a:srgbClr val="7A7A7A"/>
                    </a:solidFill>
                    <a:ln w="1308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23" name="ïşḷîḋé"/>
                    <p:cNvSpPr/>
                    <p:nvPr/>
                  </p:nvSpPr>
                  <p:spPr>
                    <a:xfrm>
                      <a:off x="5074775" y="523520"/>
                      <a:ext cx="1085952" cy="48706"/>
                    </a:xfrm>
                    <a:custGeom>
                      <a:avLst/>
                      <a:gdLst>
                        <a:gd name="connsiteX0" fmla="*/ 0 w 1085952"/>
                        <a:gd name="connsiteY0" fmla="*/ 0 h 48706"/>
                        <a:gd name="connsiteX1" fmla="*/ 1085953 w 1085952"/>
                        <a:gd name="connsiteY1" fmla="*/ 0 h 48706"/>
                        <a:gd name="connsiteX2" fmla="*/ 1085953 w 1085952"/>
                        <a:gd name="connsiteY2" fmla="*/ 48707 h 48706"/>
                        <a:gd name="connsiteX3" fmla="*/ 0 w 1085952"/>
                        <a:gd name="connsiteY3" fmla="*/ 48707 h 487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085952" h="48706">
                          <a:moveTo>
                            <a:pt x="0" y="0"/>
                          </a:moveTo>
                          <a:lnTo>
                            <a:pt x="1085953" y="0"/>
                          </a:lnTo>
                          <a:lnTo>
                            <a:pt x="1085953" y="48707"/>
                          </a:lnTo>
                          <a:lnTo>
                            <a:pt x="0" y="48707"/>
                          </a:lnTo>
                          <a:close/>
                        </a:path>
                      </a:pathLst>
                    </a:custGeom>
                    <a:solidFill>
                      <a:srgbClr val="7A7A7A"/>
                    </a:solidFill>
                    <a:ln w="1308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</p:grpSp>
            <p:sp>
              <p:nvSpPr>
                <p:cNvPr id="119" name="îšḷíḋè"/>
                <p:cNvSpPr/>
                <p:nvPr/>
              </p:nvSpPr>
              <p:spPr>
                <a:xfrm>
                  <a:off x="5050160" y="1003125"/>
                  <a:ext cx="1658388" cy="727852"/>
                </a:xfrm>
                <a:custGeom>
                  <a:avLst/>
                  <a:gdLst>
                    <a:gd name="connsiteX0" fmla="*/ 0 w 1658388"/>
                    <a:gd name="connsiteY0" fmla="*/ 461536 h 727852"/>
                    <a:gd name="connsiteX1" fmla="*/ 206742 w 1658388"/>
                    <a:gd name="connsiteY1" fmla="*/ 461536 h 727852"/>
                    <a:gd name="connsiteX2" fmla="*/ 256366 w 1658388"/>
                    <a:gd name="connsiteY2" fmla="*/ 252307 h 727852"/>
                    <a:gd name="connsiteX3" fmla="*/ 380489 w 1658388"/>
                    <a:gd name="connsiteY3" fmla="*/ 727853 h 727852"/>
                    <a:gd name="connsiteX4" fmla="*/ 483795 w 1658388"/>
                    <a:gd name="connsiteY4" fmla="*/ 0 h 727852"/>
                    <a:gd name="connsiteX5" fmla="*/ 570734 w 1658388"/>
                    <a:gd name="connsiteY5" fmla="*/ 461536 h 727852"/>
                    <a:gd name="connsiteX6" fmla="*/ 672730 w 1658388"/>
                    <a:gd name="connsiteY6" fmla="*/ 463500 h 727852"/>
                    <a:gd name="connsiteX7" fmla="*/ 781666 w 1658388"/>
                    <a:gd name="connsiteY7" fmla="*/ 49623 h 727852"/>
                    <a:gd name="connsiteX8" fmla="*/ 951223 w 1658388"/>
                    <a:gd name="connsiteY8" fmla="*/ 727853 h 727852"/>
                    <a:gd name="connsiteX9" fmla="*/ 1054529 w 1658388"/>
                    <a:gd name="connsiteY9" fmla="*/ 214991 h 727852"/>
                    <a:gd name="connsiteX10" fmla="*/ 1137278 w 1658388"/>
                    <a:gd name="connsiteY10" fmla="*/ 545857 h 727852"/>
                    <a:gd name="connsiteX11" fmla="*/ 1203399 w 1658388"/>
                    <a:gd name="connsiteY11" fmla="*/ 363861 h 727852"/>
                    <a:gd name="connsiteX12" fmla="*/ 1273710 w 1658388"/>
                    <a:gd name="connsiteY12" fmla="*/ 698917 h 727852"/>
                    <a:gd name="connsiteX13" fmla="*/ 1368898 w 1658388"/>
                    <a:gd name="connsiteY13" fmla="*/ 260555 h 727852"/>
                    <a:gd name="connsiteX14" fmla="*/ 1418521 w 1658388"/>
                    <a:gd name="connsiteY14" fmla="*/ 479736 h 727852"/>
                    <a:gd name="connsiteX15" fmla="*/ 1658389 w 1658388"/>
                    <a:gd name="connsiteY15" fmla="*/ 479736 h 7278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658388" h="727852">
                      <a:moveTo>
                        <a:pt x="0" y="461536"/>
                      </a:moveTo>
                      <a:lnTo>
                        <a:pt x="206742" y="461536"/>
                      </a:lnTo>
                      <a:lnTo>
                        <a:pt x="256366" y="252307"/>
                      </a:lnTo>
                      <a:lnTo>
                        <a:pt x="380489" y="727853"/>
                      </a:lnTo>
                      <a:lnTo>
                        <a:pt x="483795" y="0"/>
                      </a:lnTo>
                      <a:lnTo>
                        <a:pt x="570734" y="461536"/>
                      </a:lnTo>
                      <a:lnTo>
                        <a:pt x="672730" y="463500"/>
                      </a:lnTo>
                      <a:lnTo>
                        <a:pt x="781666" y="49623"/>
                      </a:lnTo>
                      <a:lnTo>
                        <a:pt x="951223" y="727853"/>
                      </a:lnTo>
                      <a:lnTo>
                        <a:pt x="1054529" y="214991"/>
                      </a:lnTo>
                      <a:lnTo>
                        <a:pt x="1137278" y="545857"/>
                      </a:lnTo>
                      <a:lnTo>
                        <a:pt x="1203399" y="363861"/>
                      </a:lnTo>
                      <a:lnTo>
                        <a:pt x="1273710" y="698917"/>
                      </a:lnTo>
                      <a:lnTo>
                        <a:pt x="1368898" y="260555"/>
                      </a:lnTo>
                      <a:lnTo>
                        <a:pt x="1418521" y="479736"/>
                      </a:lnTo>
                      <a:lnTo>
                        <a:pt x="1658389" y="479736"/>
                      </a:lnTo>
                    </a:path>
                  </a:pathLst>
                </a:custGeom>
                <a:noFill/>
                <a:ln w="39258" cap="rnd">
                  <a:solidFill>
                    <a:srgbClr val="EF4A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9" name="图形 7"/>
            <p:cNvGrpSpPr/>
            <p:nvPr/>
          </p:nvGrpSpPr>
          <p:grpSpPr>
            <a:xfrm>
              <a:off x="4231220" y="1174820"/>
              <a:ext cx="549136" cy="534995"/>
              <a:chOff x="4231220" y="1174820"/>
              <a:chExt cx="549136" cy="534995"/>
            </a:xfrm>
            <a:solidFill>
              <a:schemeClr val="accent1"/>
            </a:solidFill>
          </p:grpSpPr>
          <p:sp>
            <p:nvSpPr>
              <p:cNvPr id="113" name="îs1íḓè"/>
              <p:cNvSpPr/>
              <p:nvPr/>
            </p:nvSpPr>
            <p:spPr>
              <a:xfrm>
                <a:off x="4231220" y="1174820"/>
                <a:ext cx="549136" cy="534995"/>
              </a:xfrm>
              <a:custGeom>
                <a:avLst/>
                <a:gdLst>
                  <a:gd name="connsiteX0" fmla="*/ 532984 w 549136"/>
                  <a:gd name="connsiteY0" fmla="*/ 232494 h 534995"/>
                  <a:gd name="connsiteX1" fmla="*/ 532198 w 549136"/>
                  <a:gd name="connsiteY1" fmla="*/ 229744 h 534995"/>
                  <a:gd name="connsiteX2" fmla="*/ 477337 w 549136"/>
                  <a:gd name="connsiteY2" fmla="*/ 54295 h 534995"/>
                  <a:gd name="connsiteX3" fmla="*/ 344703 w 549136"/>
                  <a:gd name="connsiteY3" fmla="*/ 10564 h 534995"/>
                  <a:gd name="connsiteX4" fmla="*/ 300972 w 549136"/>
                  <a:gd name="connsiteY4" fmla="*/ 143198 h 534995"/>
                  <a:gd name="connsiteX5" fmla="*/ 337371 w 549136"/>
                  <a:gd name="connsiteY5" fmla="*/ 193083 h 534995"/>
                  <a:gd name="connsiteX6" fmla="*/ 309089 w 549136"/>
                  <a:gd name="connsiteY6" fmla="*/ 206831 h 534995"/>
                  <a:gd name="connsiteX7" fmla="*/ 234327 w 549136"/>
                  <a:gd name="connsiteY7" fmla="*/ 244540 h 534995"/>
                  <a:gd name="connsiteX8" fmla="*/ 205391 w 549136"/>
                  <a:gd name="connsiteY8" fmla="*/ 259597 h 534995"/>
                  <a:gd name="connsiteX9" fmla="*/ 186929 w 549136"/>
                  <a:gd name="connsiteY9" fmla="*/ 200546 h 534995"/>
                  <a:gd name="connsiteX10" fmla="*/ 54295 w 549136"/>
                  <a:gd name="connsiteY10" fmla="*/ 156815 h 534995"/>
                  <a:gd name="connsiteX11" fmla="*/ 10564 w 549136"/>
                  <a:gd name="connsiteY11" fmla="*/ 289449 h 534995"/>
                  <a:gd name="connsiteX12" fmla="*/ 118976 w 549136"/>
                  <a:gd name="connsiteY12" fmla="*/ 437796 h 534995"/>
                  <a:gd name="connsiteX13" fmla="*/ 125653 w 549136"/>
                  <a:gd name="connsiteY13" fmla="*/ 446306 h 534995"/>
                  <a:gd name="connsiteX14" fmla="*/ 370366 w 549136"/>
                  <a:gd name="connsiteY14" fmla="*/ 514784 h 534995"/>
                  <a:gd name="connsiteX15" fmla="*/ 445128 w 549136"/>
                  <a:gd name="connsiteY15" fmla="*/ 477076 h 534995"/>
                  <a:gd name="connsiteX16" fmla="*/ 532984 w 549136"/>
                  <a:gd name="connsiteY16" fmla="*/ 232494 h 534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49136" h="534995">
                    <a:moveTo>
                      <a:pt x="532984" y="232494"/>
                    </a:moveTo>
                    <a:cubicBezTo>
                      <a:pt x="532722" y="231577"/>
                      <a:pt x="532460" y="230661"/>
                      <a:pt x="532198" y="229744"/>
                    </a:cubicBezTo>
                    <a:lnTo>
                      <a:pt x="477337" y="54295"/>
                    </a:lnTo>
                    <a:cubicBezTo>
                      <a:pt x="452853" y="5588"/>
                      <a:pt x="393410" y="-13921"/>
                      <a:pt x="344703" y="10564"/>
                    </a:cubicBezTo>
                    <a:cubicBezTo>
                      <a:pt x="295996" y="35048"/>
                      <a:pt x="276487" y="94491"/>
                      <a:pt x="300972" y="143198"/>
                    </a:cubicBezTo>
                    <a:lnTo>
                      <a:pt x="337371" y="193083"/>
                    </a:lnTo>
                    <a:cubicBezTo>
                      <a:pt x="328075" y="197404"/>
                      <a:pt x="318647" y="201987"/>
                      <a:pt x="309089" y="206831"/>
                    </a:cubicBezTo>
                    <a:lnTo>
                      <a:pt x="234327" y="244540"/>
                    </a:lnTo>
                    <a:cubicBezTo>
                      <a:pt x="224376" y="249515"/>
                      <a:pt x="214687" y="254621"/>
                      <a:pt x="205391" y="259597"/>
                    </a:cubicBezTo>
                    <a:lnTo>
                      <a:pt x="186929" y="200546"/>
                    </a:lnTo>
                    <a:cubicBezTo>
                      <a:pt x="162445" y="151839"/>
                      <a:pt x="103002" y="132330"/>
                      <a:pt x="54295" y="156815"/>
                    </a:cubicBezTo>
                    <a:cubicBezTo>
                      <a:pt x="5588" y="181299"/>
                      <a:pt x="-13921" y="240742"/>
                      <a:pt x="10564" y="289449"/>
                    </a:cubicBezTo>
                    <a:lnTo>
                      <a:pt x="118976" y="437796"/>
                    </a:lnTo>
                    <a:cubicBezTo>
                      <a:pt x="121070" y="440807"/>
                      <a:pt x="123296" y="443688"/>
                      <a:pt x="125653" y="446306"/>
                    </a:cubicBezTo>
                    <a:cubicBezTo>
                      <a:pt x="176717" y="528139"/>
                      <a:pt x="282641" y="559039"/>
                      <a:pt x="370366" y="514784"/>
                    </a:cubicBezTo>
                    <a:lnTo>
                      <a:pt x="445128" y="477076"/>
                    </a:lnTo>
                    <a:cubicBezTo>
                      <a:pt x="535602" y="431773"/>
                      <a:pt x="573442" y="323753"/>
                      <a:pt x="532984" y="232494"/>
                    </a:cubicBezTo>
                    <a:close/>
                  </a:path>
                </a:pathLst>
              </a:custGeom>
              <a:solidFill>
                <a:srgbClr val="EF4A50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íŝ1îde"/>
              <p:cNvSpPr/>
              <p:nvPr/>
            </p:nvSpPr>
            <p:spPr>
              <a:xfrm>
                <a:off x="4372797" y="1248834"/>
                <a:ext cx="302512" cy="431788"/>
              </a:xfrm>
              <a:custGeom>
                <a:avLst/>
                <a:gdLst>
                  <a:gd name="connsiteX0" fmla="*/ 263879 w 302512"/>
                  <a:gd name="connsiteY0" fmla="*/ 423879 h 431788"/>
                  <a:gd name="connsiteX1" fmla="*/ 263617 w 302512"/>
                  <a:gd name="connsiteY1" fmla="*/ 424010 h 431788"/>
                  <a:gd name="connsiteX2" fmla="*/ 176154 w 302512"/>
                  <a:gd name="connsiteY2" fmla="*/ 403061 h 431788"/>
                  <a:gd name="connsiteX3" fmla="*/ 9608 w 302512"/>
                  <a:gd name="connsiteY3" fmla="*/ 139363 h 431788"/>
                  <a:gd name="connsiteX4" fmla="*/ 55435 w 302512"/>
                  <a:gd name="connsiteY4" fmla="*/ 11049 h 431788"/>
                  <a:gd name="connsiteX5" fmla="*/ 55435 w 302512"/>
                  <a:gd name="connsiteY5" fmla="*/ 11049 h 431788"/>
                  <a:gd name="connsiteX6" fmla="*/ 185843 w 302512"/>
                  <a:gd name="connsiteY6" fmla="*/ 50460 h 431788"/>
                  <a:gd name="connsiteX7" fmla="*/ 298707 w 302512"/>
                  <a:gd name="connsiteY7" fmla="*/ 341130 h 431788"/>
                  <a:gd name="connsiteX8" fmla="*/ 263879 w 302512"/>
                  <a:gd name="connsiteY8" fmla="*/ 423879 h 431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2512" h="431788">
                    <a:moveTo>
                      <a:pt x="263879" y="423879"/>
                    </a:moveTo>
                    <a:lnTo>
                      <a:pt x="263617" y="424010"/>
                    </a:lnTo>
                    <a:cubicBezTo>
                      <a:pt x="232324" y="439853"/>
                      <a:pt x="194616" y="430818"/>
                      <a:pt x="176154" y="403061"/>
                    </a:cubicBezTo>
                    <a:lnTo>
                      <a:pt x="9608" y="139363"/>
                    </a:lnTo>
                    <a:cubicBezTo>
                      <a:pt x="-13698" y="93013"/>
                      <a:pt x="6859" y="35664"/>
                      <a:pt x="55435" y="11049"/>
                    </a:cubicBezTo>
                    <a:lnTo>
                      <a:pt x="55435" y="11049"/>
                    </a:lnTo>
                    <a:cubicBezTo>
                      <a:pt x="104141" y="-13435"/>
                      <a:pt x="162537" y="4110"/>
                      <a:pt x="185843" y="50460"/>
                    </a:cubicBezTo>
                    <a:lnTo>
                      <a:pt x="298707" y="341130"/>
                    </a:lnTo>
                    <a:cubicBezTo>
                      <a:pt x="310098" y="372553"/>
                      <a:pt x="295172" y="408036"/>
                      <a:pt x="263879" y="423879"/>
                    </a:cubicBezTo>
                    <a:close/>
                  </a:path>
                </a:pathLst>
              </a:custGeom>
              <a:solidFill>
                <a:srgbClr val="FC8B9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0" name="图形 7"/>
            <p:cNvGrpSpPr/>
            <p:nvPr/>
          </p:nvGrpSpPr>
          <p:grpSpPr>
            <a:xfrm>
              <a:off x="7193707" y="-283509"/>
              <a:ext cx="330251" cy="325351"/>
              <a:chOff x="7193707" y="-283509"/>
              <a:chExt cx="330251" cy="325351"/>
            </a:xfrm>
            <a:solidFill>
              <a:schemeClr val="accent1"/>
            </a:solidFill>
          </p:grpSpPr>
          <p:sp>
            <p:nvSpPr>
              <p:cNvPr id="111" name="ïSļïḍe"/>
              <p:cNvSpPr/>
              <p:nvPr/>
            </p:nvSpPr>
            <p:spPr>
              <a:xfrm>
                <a:off x="7193707" y="-283509"/>
                <a:ext cx="330251" cy="325351"/>
              </a:xfrm>
              <a:custGeom>
                <a:avLst/>
                <a:gdLst>
                  <a:gd name="connsiteX0" fmla="*/ 247277 w 330251"/>
                  <a:gd name="connsiteY0" fmla="*/ 277147 h 325351"/>
                  <a:gd name="connsiteX1" fmla="*/ 248456 w 330251"/>
                  <a:gd name="connsiteY1" fmla="*/ 275837 h 325351"/>
                  <a:gd name="connsiteX2" fmla="*/ 321254 w 330251"/>
                  <a:gd name="connsiteY2" fmla="*/ 193481 h 325351"/>
                  <a:gd name="connsiteX3" fmla="*/ 302662 w 330251"/>
                  <a:gd name="connsiteY3" fmla="*/ 112172 h 325351"/>
                  <a:gd name="connsiteX4" fmla="*/ 221353 w 330251"/>
                  <a:gd name="connsiteY4" fmla="*/ 130764 h 325351"/>
                  <a:gd name="connsiteX5" fmla="*/ 207081 w 330251"/>
                  <a:gd name="connsiteY5" fmla="*/ 164807 h 325351"/>
                  <a:gd name="connsiteX6" fmla="*/ 191238 w 330251"/>
                  <a:gd name="connsiteY6" fmla="*/ 154594 h 325351"/>
                  <a:gd name="connsiteX7" fmla="*/ 148816 w 330251"/>
                  <a:gd name="connsiteY7" fmla="*/ 128015 h 325351"/>
                  <a:gd name="connsiteX8" fmla="*/ 132188 w 330251"/>
                  <a:gd name="connsiteY8" fmla="*/ 117933 h 325351"/>
                  <a:gd name="connsiteX9" fmla="*/ 156672 w 330251"/>
                  <a:gd name="connsiteY9" fmla="*/ 90306 h 325351"/>
                  <a:gd name="connsiteX10" fmla="*/ 138080 w 330251"/>
                  <a:gd name="connsiteY10" fmla="*/ 8997 h 325351"/>
                  <a:gd name="connsiteX11" fmla="*/ 56771 w 330251"/>
                  <a:gd name="connsiteY11" fmla="*/ 27590 h 325351"/>
                  <a:gd name="connsiteX12" fmla="*/ 14349 w 330251"/>
                  <a:gd name="connsiteY12" fmla="*/ 128931 h 325351"/>
                  <a:gd name="connsiteX13" fmla="*/ 12123 w 330251"/>
                  <a:gd name="connsiteY13" fmla="*/ 134954 h 325351"/>
                  <a:gd name="connsiteX14" fmla="*/ 52843 w 330251"/>
                  <a:gd name="connsiteY14" fmla="*/ 281337 h 325351"/>
                  <a:gd name="connsiteX15" fmla="*/ 95265 w 330251"/>
                  <a:gd name="connsiteY15" fmla="*/ 307916 h 325351"/>
                  <a:gd name="connsiteX16" fmla="*/ 247277 w 330251"/>
                  <a:gd name="connsiteY16" fmla="*/ 277147 h 32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30251" h="325351">
                    <a:moveTo>
                      <a:pt x="247277" y="277147"/>
                    </a:moveTo>
                    <a:cubicBezTo>
                      <a:pt x="247670" y="276754"/>
                      <a:pt x="248063" y="276361"/>
                      <a:pt x="248456" y="275837"/>
                    </a:cubicBezTo>
                    <a:lnTo>
                      <a:pt x="321254" y="193481"/>
                    </a:lnTo>
                    <a:cubicBezTo>
                      <a:pt x="338537" y="165854"/>
                      <a:pt x="330158" y="129455"/>
                      <a:pt x="302662" y="112172"/>
                    </a:cubicBezTo>
                    <a:cubicBezTo>
                      <a:pt x="275035" y="94889"/>
                      <a:pt x="238636" y="103269"/>
                      <a:pt x="221353" y="130764"/>
                    </a:cubicBezTo>
                    <a:lnTo>
                      <a:pt x="207081" y="164807"/>
                    </a:lnTo>
                    <a:cubicBezTo>
                      <a:pt x="201975" y="161402"/>
                      <a:pt x="196738" y="157998"/>
                      <a:pt x="191238" y="154594"/>
                    </a:cubicBezTo>
                    <a:lnTo>
                      <a:pt x="148816" y="128015"/>
                    </a:lnTo>
                    <a:cubicBezTo>
                      <a:pt x="143186" y="124480"/>
                      <a:pt x="137687" y="121075"/>
                      <a:pt x="132188" y="117933"/>
                    </a:cubicBezTo>
                    <a:lnTo>
                      <a:pt x="156672" y="90306"/>
                    </a:lnTo>
                    <a:cubicBezTo>
                      <a:pt x="173955" y="62680"/>
                      <a:pt x="165576" y="26280"/>
                      <a:pt x="138080" y="8997"/>
                    </a:cubicBezTo>
                    <a:cubicBezTo>
                      <a:pt x="110453" y="-8286"/>
                      <a:pt x="74054" y="94"/>
                      <a:pt x="56771" y="27590"/>
                    </a:cubicBezTo>
                    <a:lnTo>
                      <a:pt x="14349" y="128931"/>
                    </a:lnTo>
                    <a:cubicBezTo>
                      <a:pt x="13432" y="130895"/>
                      <a:pt x="12647" y="132990"/>
                      <a:pt x="12123" y="134954"/>
                    </a:cubicBezTo>
                    <a:cubicBezTo>
                      <a:pt x="-13932" y="186411"/>
                      <a:pt x="3089" y="250044"/>
                      <a:pt x="52843" y="281337"/>
                    </a:cubicBezTo>
                    <a:lnTo>
                      <a:pt x="95265" y="307916"/>
                    </a:lnTo>
                    <a:cubicBezTo>
                      <a:pt x="146067" y="340256"/>
                      <a:pt x="213104" y="326246"/>
                      <a:pt x="247277" y="277147"/>
                    </a:cubicBezTo>
                    <a:close/>
                  </a:path>
                </a:pathLst>
              </a:custGeom>
              <a:solidFill>
                <a:srgbClr val="EF4A50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íṧľidê"/>
              <p:cNvSpPr/>
              <p:nvPr/>
            </p:nvSpPr>
            <p:spPr>
              <a:xfrm>
                <a:off x="7245765" y="-232979"/>
                <a:ext cx="195216" cy="250185"/>
              </a:xfrm>
              <a:custGeom>
                <a:avLst/>
                <a:gdLst>
                  <a:gd name="connsiteX0" fmla="*/ 20032 w 195216"/>
                  <a:gd name="connsiteY0" fmla="*/ 243639 h 250185"/>
                  <a:gd name="connsiteX1" fmla="*/ 19901 w 195216"/>
                  <a:gd name="connsiteY1" fmla="*/ 243508 h 250185"/>
                  <a:gd name="connsiteX2" fmla="*/ 3535 w 195216"/>
                  <a:gd name="connsiteY2" fmla="*/ 192313 h 250185"/>
                  <a:gd name="connsiteX3" fmla="*/ 86939 w 195216"/>
                  <a:gd name="connsiteY3" fmla="*/ 25636 h 250185"/>
                  <a:gd name="connsiteX4" fmla="*/ 166808 w 195216"/>
                  <a:gd name="connsiteY4" fmla="*/ 9401 h 250185"/>
                  <a:gd name="connsiteX5" fmla="*/ 166808 w 195216"/>
                  <a:gd name="connsiteY5" fmla="*/ 9401 h 250185"/>
                  <a:gd name="connsiteX6" fmla="*/ 186971 w 195216"/>
                  <a:gd name="connsiteY6" fmla="*/ 88353 h 250185"/>
                  <a:gd name="connsiteX7" fmla="*/ 73191 w 195216"/>
                  <a:gd name="connsiteY7" fmla="*/ 236045 h 250185"/>
                  <a:gd name="connsiteX8" fmla="*/ 20032 w 195216"/>
                  <a:gd name="connsiteY8" fmla="*/ 243639 h 250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216" h="250185">
                    <a:moveTo>
                      <a:pt x="20032" y="243639"/>
                    </a:moveTo>
                    <a:lnTo>
                      <a:pt x="19901" y="243508"/>
                    </a:lnTo>
                    <a:cubicBezTo>
                      <a:pt x="2094" y="232379"/>
                      <a:pt x="-4845" y="210382"/>
                      <a:pt x="3535" y="192313"/>
                    </a:cubicBezTo>
                    <a:lnTo>
                      <a:pt x="86939" y="25636"/>
                    </a:lnTo>
                    <a:cubicBezTo>
                      <a:pt x="103436" y="-681"/>
                      <a:pt x="139181" y="-7882"/>
                      <a:pt x="166808" y="9401"/>
                    </a:cubicBezTo>
                    <a:lnTo>
                      <a:pt x="166808" y="9401"/>
                    </a:lnTo>
                    <a:cubicBezTo>
                      <a:pt x="194434" y="26684"/>
                      <a:pt x="203468" y="62036"/>
                      <a:pt x="186971" y="88353"/>
                    </a:cubicBezTo>
                    <a:lnTo>
                      <a:pt x="73191" y="236045"/>
                    </a:lnTo>
                    <a:cubicBezTo>
                      <a:pt x="60490" y="251364"/>
                      <a:pt x="37708" y="254768"/>
                      <a:pt x="20032" y="243639"/>
                    </a:cubicBezTo>
                    <a:close/>
                  </a:path>
                </a:pathLst>
              </a:custGeom>
              <a:solidFill>
                <a:srgbClr val="FC8B9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" name="图形 7"/>
            <p:cNvGrpSpPr/>
            <p:nvPr/>
          </p:nvGrpSpPr>
          <p:grpSpPr>
            <a:xfrm>
              <a:off x="4025047" y="-1646163"/>
              <a:ext cx="1052980" cy="587918"/>
              <a:chOff x="4025047" y="-1646163"/>
              <a:chExt cx="1052980" cy="587918"/>
            </a:xfrm>
            <a:solidFill>
              <a:srgbClr val="FFFFFF"/>
            </a:solidFill>
          </p:grpSpPr>
          <p:sp>
            <p:nvSpPr>
              <p:cNvPr id="87" name="îś1îďe"/>
              <p:cNvSpPr/>
              <p:nvPr/>
            </p:nvSpPr>
            <p:spPr>
              <a:xfrm>
                <a:off x="4564519" y="-1341550"/>
                <a:ext cx="56522" cy="30851"/>
              </a:xfrm>
              <a:custGeom>
                <a:avLst/>
                <a:gdLst>
                  <a:gd name="connsiteX0" fmla="*/ 11797 w 56522"/>
                  <a:gd name="connsiteY0" fmla="*/ 30185 h 30851"/>
                  <a:gd name="connsiteX1" fmla="*/ 27771 w 56522"/>
                  <a:gd name="connsiteY1" fmla="*/ 30840 h 30851"/>
                  <a:gd name="connsiteX2" fmla="*/ 45446 w 56522"/>
                  <a:gd name="connsiteY2" fmla="*/ 29530 h 30851"/>
                  <a:gd name="connsiteX3" fmla="*/ 42697 w 56522"/>
                  <a:gd name="connsiteY3" fmla="*/ 201 h 30851"/>
                  <a:gd name="connsiteX4" fmla="*/ 25021 w 56522"/>
                  <a:gd name="connsiteY4" fmla="*/ 2035 h 30851"/>
                  <a:gd name="connsiteX5" fmla="*/ 9440 w 56522"/>
                  <a:gd name="connsiteY5" fmla="*/ 5308 h 30851"/>
                  <a:gd name="connsiteX6" fmla="*/ 11797 w 56522"/>
                  <a:gd name="connsiteY6" fmla="*/ 30185 h 30851"/>
                  <a:gd name="connsiteX7" fmla="*/ 11797 w 56522"/>
                  <a:gd name="connsiteY7" fmla="*/ 30185 h 30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6522" h="30851">
                    <a:moveTo>
                      <a:pt x="11797" y="30185"/>
                    </a:moveTo>
                    <a:cubicBezTo>
                      <a:pt x="17165" y="30840"/>
                      <a:pt x="22271" y="30840"/>
                      <a:pt x="27771" y="30840"/>
                    </a:cubicBezTo>
                    <a:cubicBezTo>
                      <a:pt x="33532" y="30709"/>
                      <a:pt x="39947" y="31363"/>
                      <a:pt x="45446" y="29530"/>
                    </a:cubicBezTo>
                    <a:cubicBezTo>
                      <a:pt x="61813" y="24293"/>
                      <a:pt x="59325" y="2558"/>
                      <a:pt x="42697" y="201"/>
                    </a:cubicBezTo>
                    <a:cubicBezTo>
                      <a:pt x="37067" y="-584"/>
                      <a:pt x="30782" y="1118"/>
                      <a:pt x="25021" y="2035"/>
                    </a:cubicBezTo>
                    <a:cubicBezTo>
                      <a:pt x="19653" y="2820"/>
                      <a:pt x="14677" y="3737"/>
                      <a:pt x="9440" y="5308"/>
                    </a:cubicBezTo>
                    <a:cubicBezTo>
                      <a:pt x="-4439" y="9367"/>
                      <a:pt x="-2475" y="28483"/>
                      <a:pt x="11797" y="30185"/>
                    </a:cubicBezTo>
                    <a:lnTo>
                      <a:pt x="11797" y="30185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îŝļíḓè"/>
              <p:cNvSpPr/>
              <p:nvPr/>
            </p:nvSpPr>
            <p:spPr>
              <a:xfrm>
                <a:off x="4686781" y="-1262038"/>
                <a:ext cx="41257" cy="31098"/>
              </a:xfrm>
              <a:custGeom>
                <a:avLst/>
                <a:gdLst>
                  <a:gd name="connsiteX0" fmla="*/ 5541 w 41257"/>
                  <a:gd name="connsiteY0" fmla="*/ 23603 h 31098"/>
                  <a:gd name="connsiteX1" fmla="*/ 25835 w 41257"/>
                  <a:gd name="connsiteY1" fmla="*/ 31066 h 31098"/>
                  <a:gd name="connsiteX2" fmla="*/ 41024 w 41257"/>
                  <a:gd name="connsiteY2" fmla="*/ 18758 h 31098"/>
                  <a:gd name="connsiteX3" fmla="*/ 31073 w 41257"/>
                  <a:gd name="connsiteY3" fmla="*/ 1999 h 31098"/>
                  <a:gd name="connsiteX4" fmla="*/ 9600 w 41257"/>
                  <a:gd name="connsiteY4" fmla="*/ 951 h 31098"/>
                  <a:gd name="connsiteX5" fmla="*/ 304 w 41257"/>
                  <a:gd name="connsiteY5" fmla="*/ 10902 h 31098"/>
                  <a:gd name="connsiteX6" fmla="*/ 5541 w 41257"/>
                  <a:gd name="connsiteY6" fmla="*/ 23603 h 31098"/>
                  <a:gd name="connsiteX7" fmla="*/ 5541 w 41257"/>
                  <a:gd name="connsiteY7" fmla="*/ 23603 h 31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57" h="31098">
                    <a:moveTo>
                      <a:pt x="5541" y="23603"/>
                    </a:moveTo>
                    <a:cubicBezTo>
                      <a:pt x="10778" y="27792"/>
                      <a:pt x="19158" y="30542"/>
                      <a:pt x="25835" y="31066"/>
                    </a:cubicBezTo>
                    <a:cubicBezTo>
                      <a:pt x="33168" y="31589"/>
                      <a:pt x="39714" y="25698"/>
                      <a:pt x="41024" y="18758"/>
                    </a:cubicBezTo>
                    <a:cubicBezTo>
                      <a:pt x="42333" y="11295"/>
                      <a:pt x="38012" y="4617"/>
                      <a:pt x="31073" y="1999"/>
                    </a:cubicBezTo>
                    <a:cubicBezTo>
                      <a:pt x="24788" y="-227"/>
                      <a:pt x="15885" y="-620"/>
                      <a:pt x="9600" y="951"/>
                    </a:cubicBezTo>
                    <a:cubicBezTo>
                      <a:pt x="4755" y="2261"/>
                      <a:pt x="1089" y="5927"/>
                      <a:pt x="304" y="10902"/>
                    </a:cubicBezTo>
                    <a:cubicBezTo>
                      <a:pt x="-875" y="16270"/>
                      <a:pt x="1482" y="20329"/>
                      <a:pt x="5541" y="23603"/>
                    </a:cubicBezTo>
                    <a:lnTo>
                      <a:pt x="5541" y="2360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9" name="îŝlíḍé"/>
              <p:cNvSpPr/>
              <p:nvPr/>
            </p:nvSpPr>
            <p:spPr>
              <a:xfrm>
                <a:off x="4713138" y="-1335012"/>
                <a:ext cx="47853" cy="29069"/>
              </a:xfrm>
              <a:custGeom>
                <a:avLst/>
                <a:gdLst>
                  <a:gd name="connsiteX0" fmla="*/ 11132 w 47853"/>
                  <a:gd name="connsiteY0" fmla="*/ 28885 h 29069"/>
                  <a:gd name="connsiteX1" fmla="*/ 23046 w 47853"/>
                  <a:gd name="connsiteY1" fmla="*/ 29016 h 29069"/>
                  <a:gd name="connsiteX2" fmla="*/ 37056 w 47853"/>
                  <a:gd name="connsiteY2" fmla="*/ 27837 h 29069"/>
                  <a:gd name="connsiteX3" fmla="*/ 47793 w 47853"/>
                  <a:gd name="connsiteY3" fmla="*/ 12780 h 29069"/>
                  <a:gd name="connsiteX4" fmla="*/ 34438 w 47853"/>
                  <a:gd name="connsiteY4" fmla="*/ 80 h 29069"/>
                  <a:gd name="connsiteX5" fmla="*/ 8775 w 47853"/>
                  <a:gd name="connsiteY5" fmla="*/ 5317 h 29069"/>
                  <a:gd name="connsiteX6" fmla="*/ 11132 w 47853"/>
                  <a:gd name="connsiteY6" fmla="*/ 28885 h 29069"/>
                  <a:gd name="connsiteX7" fmla="*/ 11132 w 47853"/>
                  <a:gd name="connsiteY7" fmla="*/ 28885 h 29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853" h="29069">
                    <a:moveTo>
                      <a:pt x="11132" y="28885"/>
                    </a:moveTo>
                    <a:cubicBezTo>
                      <a:pt x="15190" y="29016"/>
                      <a:pt x="19118" y="29146"/>
                      <a:pt x="23046" y="29016"/>
                    </a:cubicBezTo>
                    <a:cubicBezTo>
                      <a:pt x="27629" y="28885"/>
                      <a:pt x="32735" y="29277"/>
                      <a:pt x="37056" y="27837"/>
                    </a:cubicBezTo>
                    <a:cubicBezTo>
                      <a:pt x="43734" y="25611"/>
                      <a:pt x="48447" y="20243"/>
                      <a:pt x="47793" y="12780"/>
                    </a:cubicBezTo>
                    <a:cubicBezTo>
                      <a:pt x="47138" y="5710"/>
                      <a:pt x="41508" y="603"/>
                      <a:pt x="34438" y="80"/>
                    </a:cubicBezTo>
                    <a:cubicBezTo>
                      <a:pt x="26189" y="-575"/>
                      <a:pt x="16631" y="2960"/>
                      <a:pt x="8775" y="5317"/>
                    </a:cubicBezTo>
                    <a:cubicBezTo>
                      <a:pt x="-3664" y="9114"/>
                      <a:pt x="-2878" y="28230"/>
                      <a:pt x="11132" y="28885"/>
                    </a:cubicBezTo>
                    <a:lnTo>
                      <a:pt x="11132" y="28885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" name="ïṡḻîḓe"/>
              <p:cNvSpPr/>
              <p:nvPr/>
            </p:nvSpPr>
            <p:spPr>
              <a:xfrm>
                <a:off x="4568386" y="-1460203"/>
                <a:ext cx="37532" cy="29165"/>
              </a:xfrm>
              <a:custGeom>
                <a:avLst/>
                <a:gdLst>
                  <a:gd name="connsiteX0" fmla="*/ 4394 w 37532"/>
                  <a:gd name="connsiteY0" fmla="*/ 22227 h 29165"/>
                  <a:gd name="connsiteX1" fmla="*/ 18666 w 37532"/>
                  <a:gd name="connsiteY1" fmla="*/ 28381 h 29165"/>
                  <a:gd name="connsiteX2" fmla="*/ 37520 w 37532"/>
                  <a:gd name="connsiteY2" fmla="*/ 15157 h 29165"/>
                  <a:gd name="connsiteX3" fmla="*/ 19714 w 37532"/>
                  <a:gd name="connsiteY3" fmla="*/ 493 h 29165"/>
                  <a:gd name="connsiteX4" fmla="*/ 5049 w 37532"/>
                  <a:gd name="connsiteY4" fmla="*/ 5468 h 29165"/>
                  <a:gd name="connsiteX5" fmla="*/ 4394 w 37532"/>
                  <a:gd name="connsiteY5" fmla="*/ 22227 h 29165"/>
                  <a:gd name="connsiteX6" fmla="*/ 4394 w 37532"/>
                  <a:gd name="connsiteY6" fmla="*/ 22227 h 29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532" h="29165">
                    <a:moveTo>
                      <a:pt x="4394" y="22227"/>
                    </a:moveTo>
                    <a:cubicBezTo>
                      <a:pt x="8977" y="24977"/>
                      <a:pt x="13691" y="26548"/>
                      <a:pt x="18666" y="28381"/>
                    </a:cubicBezTo>
                    <a:cubicBezTo>
                      <a:pt x="27569" y="31654"/>
                      <a:pt x="37258" y="24191"/>
                      <a:pt x="37520" y="15157"/>
                    </a:cubicBezTo>
                    <a:cubicBezTo>
                      <a:pt x="37913" y="6123"/>
                      <a:pt x="28879" y="-2126"/>
                      <a:pt x="19714" y="493"/>
                    </a:cubicBezTo>
                    <a:cubicBezTo>
                      <a:pt x="14607" y="1933"/>
                      <a:pt x="9763" y="3111"/>
                      <a:pt x="5049" y="5468"/>
                    </a:cubicBezTo>
                    <a:cubicBezTo>
                      <a:pt x="-1367" y="8610"/>
                      <a:pt x="-1759" y="18561"/>
                      <a:pt x="4394" y="22227"/>
                    </a:cubicBezTo>
                    <a:lnTo>
                      <a:pt x="4394" y="22227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iṣļîďé"/>
              <p:cNvSpPr/>
              <p:nvPr/>
            </p:nvSpPr>
            <p:spPr>
              <a:xfrm>
                <a:off x="4405959" y="-1409113"/>
                <a:ext cx="37128" cy="35193"/>
              </a:xfrm>
              <a:custGeom>
                <a:avLst/>
                <a:gdLst>
                  <a:gd name="connsiteX0" fmla="*/ 275 w 37128"/>
                  <a:gd name="connsiteY0" fmla="*/ 9500 h 35193"/>
                  <a:gd name="connsiteX1" fmla="*/ 1454 w 37128"/>
                  <a:gd name="connsiteY1" fmla="*/ 14737 h 35193"/>
                  <a:gd name="connsiteX2" fmla="*/ 6167 w 37128"/>
                  <a:gd name="connsiteY2" fmla="*/ 23248 h 35193"/>
                  <a:gd name="connsiteX3" fmla="*/ 19261 w 37128"/>
                  <a:gd name="connsiteY3" fmla="*/ 34377 h 35193"/>
                  <a:gd name="connsiteX4" fmla="*/ 35496 w 37128"/>
                  <a:gd name="connsiteY4" fmla="*/ 14868 h 35193"/>
                  <a:gd name="connsiteX5" fmla="*/ 22403 w 37128"/>
                  <a:gd name="connsiteY5" fmla="*/ 3739 h 35193"/>
                  <a:gd name="connsiteX6" fmla="*/ 13761 w 37128"/>
                  <a:gd name="connsiteY6" fmla="*/ 596 h 35193"/>
                  <a:gd name="connsiteX7" fmla="*/ 10095 w 37128"/>
                  <a:gd name="connsiteY7" fmla="*/ 465 h 35193"/>
                  <a:gd name="connsiteX8" fmla="*/ 8000 w 37128"/>
                  <a:gd name="connsiteY8" fmla="*/ 72 h 35193"/>
                  <a:gd name="connsiteX9" fmla="*/ 275 w 37128"/>
                  <a:gd name="connsiteY9" fmla="*/ 9500 h 35193"/>
                  <a:gd name="connsiteX10" fmla="*/ 275 w 37128"/>
                  <a:gd name="connsiteY10" fmla="*/ 9500 h 35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7128" h="35193">
                    <a:moveTo>
                      <a:pt x="275" y="9500"/>
                    </a:moveTo>
                    <a:cubicBezTo>
                      <a:pt x="799" y="10940"/>
                      <a:pt x="930" y="12642"/>
                      <a:pt x="1454" y="14737"/>
                    </a:cubicBezTo>
                    <a:cubicBezTo>
                      <a:pt x="2370" y="18141"/>
                      <a:pt x="4072" y="20367"/>
                      <a:pt x="6167" y="23248"/>
                    </a:cubicBezTo>
                    <a:cubicBezTo>
                      <a:pt x="9833" y="28223"/>
                      <a:pt x="13369" y="32020"/>
                      <a:pt x="19261" y="34377"/>
                    </a:cubicBezTo>
                    <a:cubicBezTo>
                      <a:pt x="30259" y="38697"/>
                      <a:pt x="41388" y="24950"/>
                      <a:pt x="35496" y="14868"/>
                    </a:cubicBezTo>
                    <a:cubicBezTo>
                      <a:pt x="32223" y="9369"/>
                      <a:pt x="27902" y="6619"/>
                      <a:pt x="22403" y="3739"/>
                    </a:cubicBezTo>
                    <a:cubicBezTo>
                      <a:pt x="19522" y="2167"/>
                      <a:pt x="16904" y="989"/>
                      <a:pt x="13761" y="596"/>
                    </a:cubicBezTo>
                    <a:cubicBezTo>
                      <a:pt x="12583" y="465"/>
                      <a:pt x="11274" y="465"/>
                      <a:pt x="10095" y="465"/>
                    </a:cubicBezTo>
                    <a:cubicBezTo>
                      <a:pt x="6298" y="465"/>
                      <a:pt x="11274" y="727"/>
                      <a:pt x="8000" y="72"/>
                    </a:cubicBezTo>
                    <a:cubicBezTo>
                      <a:pt x="3287" y="-713"/>
                      <a:pt x="-1165" y="5048"/>
                      <a:pt x="275" y="9500"/>
                    </a:cubicBezTo>
                    <a:lnTo>
                      <a:pt x="275" y="9500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ïṡ1íḓè"/>
              <p:cNvSpPr/>
              <p:nvPr/>
            </p:nvSpPr>
            <p:spPr>
              <a:xfrm>
                <a:off x="4400813" y="-1235682"/>
                <a:ext cx="37643" cy="42404"/>
              </a:xfrm>
              <a:custGeom>
                <a:avLst/>
                <a:gdLst>
                  <a:gd name="connsiteX0" fmla="*/ 1363 w 37643"/>
                  <a:gd name="connsiteY0" fmla="*/ 18589 h 42404"/>
                  <a:gd name="connsiteX1" fmla="*/ 15372 w 37643"/>
                  <a:gd name="connsiteY1" fmla="*/ 40062 h 42404"/>
                  <a:gd name="connsiteX2" fmla="*/ 37238 w 37643"/>
                  <a:gd name="connsiteY2" fmla="*/ 24612 h 42404"/>
                  <a:gd name="connsiteX3" fmla="*/ 22050 w 37643"/>
                  <a:gd name="connsiteY3" fmla="*/ 4056 h 42404"/>
                  <a:gd name="connsiteX4" fmla="*/ 5422 w 37643"/>
                  <a:gd name="connsiteY4" fmla="*/ 2353 h 42404"/>
                  <a:gd name="connsiteX5" fmla="*/ 1363 w 37643"/>
                  <a:gd name="connsiteY5" fmla="*/ 18589 h 42404"/>
                  <a:gd name="connsiteX6" fmla="*/ 1363 w 37643"/>
                  <a:gd name="connsiteY6" fmla="*/ 18589 h 42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643" h="42404">
                    <a:moveTo>
                      <a:pt x="1363" y="18589"/>
                    </a:moveTo>
                    <a:cubicBezTo>
                      <a:pt x="5160" y="26183"/>
                      <a:pt x="8040" y="34956"/>
                      <a:pt x="15372" y="40062"/>
                    </a:cubicBezTo>
                    <a:cubicBezTo>
                      <a:pt x="25847" y="47263"/>
                      <a:pt x="40250" y="36658"/>
                      <a:pt x="37238" y="24612"/>
                    </a:cubicBezTo>
                    <a:cubicBezTo>
                      <a:pt x="35143" y="16232"/>
                      <a:pt x="27680" y="10078"/>
                      <a:pt x="22050" y="4056"/>
                    </a:cubicBezTo>
                    <a:cubicBezTo>
                      <a:pt x="17729" y="-658"/>
                      <a:pt x="10528" y="-1313"/>
                      <a:pt x="5422" y="2353"/>
                    </a:cubicBezTo>
                    <a:cubicBezTo>
                      <a:pt x="53" y="6019"/>
                      <a:pt x="-1387" y="12828"/>
                      <a:pt x="1363" y="18589"/>
                    </a:cubicBezTo>
                    <a:lnTo>
                      <a:pt x="1363" y="1858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iṥḷïdè"/>
              <p:cNvSpPr/>
              <p:nvPr/>
            </p:nvSpPr>
            <p:spPr>
              <a:xfrm>
                <a:off x="4518843" y="-1255173"/>
                <a:ext cx="36332" cy="36348"/>
              </a:xfrm>
              <a:custGeom>
                <a:avLst/>
                <a:gdLst>
                  <a:gd name="connsiteX0" fmla="*/ 13348 w 36332"/>
                  <a:gd name="connsiteY0" fmla="*/ 28391 h 36348"/>
                  <a:gd name="connsiteX1" fmla="*/ 9159 w 36332"/>
                  <a:gd name="connsiteY1" fmla="*/ 26820 h 36348"/>
                  <a:gd name="connsiteX2" fmla="*/ 7457 w 36332"/>
                  <a:gd name="connsiteY2" fmla="*/ 25380 h 36348"/>
                  <a:gd name="connsiteX3" fmla="*/ 7326 w 36332"/>
                  <a:gd name="connsiteY3" fmla="*/ 24987 h 36348"/>
                  <a:gd name="connsiteX4" fmla="*/ 6278 w 36332"/>
                  <a:gd name="connsiteY4" fmla="*/ 23023 h 36348"/>
                  <a:gd name="connsiteX5" fmla="*/ 5885 w 36332"/>
                  <a:gd name="connsiteY5" fmla="*/ 22237 h 36348"/>
                  <a:gd name="connsiteX6" fmla="*/ 5754 w 36332"/>
                  <a:gd name="connsiteY6" fmla="*/ 20797 h 36348"/>
                  <a:gd name="connsiteX7" fmla="*/ 18324 w 36332"/>
                  <a:gd name="connsiteY7" fmla="*/ 36116 h 36348"/>
                  <a:gd name="connsiteX8" fmla="*/ 35345 w 36332"/>
                  <a:gd name="connsiteY8" fmla="*/ 25903 h 36348"/>
                  <a:gd name="connsiteX9" fmla="*/ 7326 w 36332"/>
                  <a:gd name="connsiteY9" fmla="*/ 2466 h 36348"/>
                  <a:gd name="connsiteX10" fmla="*/ 386 w 36332"/>
                  <a:gd name="connsiteY10" fmla="*/ 17655 h 36348"/>
                  <a:gd name="connsiteX11" fmla="*/ 13348 w 36332"/>
                  <a:gd name="connsiteY11" fmla="*/ 28391 h 36348"/>
                  <a:gd name="connsiteX12" fmla="*/ 13348 w 36332"/>
                  <a:gd name="connsiteY12" fmla="*/ 28391 h 36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6332" h="36348">
                    <a:moveTo>
                      <a:pt x="13348" y="28391"/>
                    </a:moveTo>
                    <a:cubicBezTo>
                      <a:pt x="15967" y="28260"/>
                      <a:pt x="9290" y="26820"/>
                      <a:pt x="9159" y="26820"/>
                    </a:cubicBezTo>
                    <a:cubicBezTo>
                      <a:pt x="8635" y="26296"/>
                      <a:pt x="8111" y="25903"/>
                      <a:pt x="7457" y="25380"/>
                    </a:cubicBezTo>
                    <a:cubicBezTo>
                      <a:pt x="8242" y="26165"/>
                      <a:pt x="8242" y="26165"/>
                      <a:pt x="7326" y="24987"/>
                    </a:cubicBezTo>
                    <a:cubicBezTo>
                      <a:pt x="6802" y="24463"/>
                      <a:pt x="6409" y="23677"/>
                      <a:pt x="6278" y="23023"/>
                    </a:cubicBezTo>
                    <a:cubicBezTo>
                      <a:pt x="5885" y="21714"/>
                      <a:pt x="5754" y="21583"/>
                      <a:pt x="5885" y="22237"/>
                    </a:cubicBezTo>
                    <a:cubicBezTo>
                      <a:pt x="6409" y="23285"/>
                      <a:pt x="5362" y="25903"/>
                      <a:pt x="5754" y="20797"/>
                    </a:cubicBezTo>
                    <a:cubicBezTo>
                      <a:pt x="5231" y="28260"/>
                      <a:pt x="11123" y="34938"/>
                      <a:pt x="18324" y="36116"/>
                    </a:cubicBezTo>
                    <a:cubicBezTo>
                      <a:pt x="25787" y="37425"/>
                      <a:pt x="32857" y="33105"/>
                      <a:pt x="35345" y="25903"/>
                    </a:cubicBezTo>
                    <a:cubicBezTo>
                      <a:pt x="40844" y="9930"/>
                      <a:pt x="22252" y="-6306"/>
                      <a:pt x="7326" y="2466"/>
                    </a:cubicBezTo>
                    <a:cubicBezTo>
                      <a:pt x="2219" y="5478"/>
                      <a:pt x="-1185" y="11632"/>
                      <a:pt x="386" y="17655"/>
                    </a:cubicBezTo>
                    <a:cubicBezTo>
                      <a:pt x="2088" y="23285"/>
                      <a:pt x="7326" y="28784"/>
                      <a:pt x="13348" y="28391"/>
                    </a:cubicBezTo>
                    <a:lnTo>
                      <a:pt x="13348" y="28391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íṥľiḍé"/>
              <p:cNvSpPr/>
              <p:nvPr/>
            </p:nvSpPr>
            <p:spPr>
              <a:xfrm>
                <a:off x="4304618" y="-1311013"/>
                <a:ext cx="39424" cy="28199"/>
              </a:xfrm>
              <a:custGeom>
                <a:avLst/>
                <a:gdLst>
                  <a:gd name="connsiteX0" fmla="*/ 8131 w 39424"/>
                  <a:gd name="connsiteY0" fmla="*/ 25180 h 28199"/>
                  <a:gd name="connsiteX1" fmla="*/ 24760 w 39424"/>
                  <a:gd name="connsiteY1" fmla="*/ 28191 h 28199"/>
                  <a:gd name="connsiteX2" fmla="*/ 39424 w 39424"/>
                  <a:gd name="connsiteY2" fmla="*/ 14705 h 28199"/>
                  <a:gd name="connsiteX3" fmla="*/ 25938 w 39424"/>
                  <a:gd name="connsiteY3" fmla="*/ 41 h 28199"/>
                  <a:gd name="connsiteX4" fmla="*/ 9179 w 39424"/>
                  <a:gd name="connsiteY4" fmla="*/ 1743 h 28199"/>
                  <a:gd name="connsiteX5" fmla="*/ 8131 w 39424"/>
                  <a:gd name="connsiteY5" fmla="*/ 25180 h 28199"/>
                  <a:gd name="connsiteX6" fmla="*/ 8131 w 39424"/>
                  <a:gd name="connsiteY6" fmla="*/ 25180 h 2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424" h="28199">
                    <a:moveTo>
                      <a:pt x="8131" y="25180"/>
                    </a:moveTo>
                    <a:cubicBezTo>
                      <a:pt x="13631" y="26489"/>
                      <a:pt x="18999" y="28060"/>
                      <a:pt x="24760" y="28191"/>
                    </a:cubicBezTo>
                    <a:cubicBezTo>
                      <a:pt x="32092" y="28453"/>
                      <a:pt x="39424" y="22299"/>
                      <a:pt x="39424" y="14705"/>
                    </a:cubicBezTo>
                    <a:cubicBezTo>
                      <a:pt x="39424" y="7111"/>
                      <a:pt x="33794" y="434"/>
                      <a:pt x="25938" y="41"/>
                    </a:cubicBezTo>
                    <a:cubicBezTo>
                      <a:pt x="20308" y="-221"/>
                      <a:pt x="14809" y="827"/>
                      <a:pt x="9179" y="1743"/>
                    </a:cubicBezTo>
                    <a:cubicBezTo>
                      <a:pt x="-2474" y="3707"/>
                      <a:pt x="-3260" y="22299"/>
                      <a:pt x="8131" y="25180"/>
                    </a:cubicBezTo>
                    <a:lnTo>
                      <a:pt x="8131" y="25180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îsľîḍé"/>
              <p:cNvSpPr/>
              <p:nvPr/>
            </p:nvSpPr>
            <p:spPr>
              <a:xfrm>
                <a:off x="4282785" y="-1479890"/>
                <a:ext cx="28948" cy="30013"/>
              </a:xfrm>
              <a:custGeom>
                <a:avLst/>
                <a:gdLst>
                  <a:gd name="connsiteX0" fmla="*/ 13860 w 28948"/>
                  <a:gd name="connsiteY0" fmla="*/ 29999 h 30013"/>
                  <a:gd name="connsiteX1" fmla="*/ 15038 w 28948"/>
                  <a:gd name="connsiteY1" fmla="*/ 15 h 30013"/>
                  <a:gd name="connsiteX2" fmla="*/ 13860 w 28948"/>
                  <a:gd name="connsiteY2" fmla="*/ 29999 h 30013"/>
                  <a:gd name="connsiteX3" fmla="*/ 13860 w 28948"/>
                  <a:gd name="connsiteY3" fmla="*/ 29999 h 30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948" h="30013">
                    <a:moveTo>
                      <a:pt x="13860" y="29999"/>
                    </a:moveTo>
                    <a:cubicBezTo>
                      <a:pt x="33107" y="30784"/>
                      <a:pt x="34416" y="801"/>
                      <a:pt x="15038" y="15"/>
                    </a:cubicBezTo>
                    <a:cubicBezTo>
                      <a:pt x="-4209" y="-770"/>
                      <a:pt x="-5387" y="29213"/>
                      <a:pt x="13860" y="29999"/>
                    </a:cubicBezTo>
                    <a:lnTo>
                      <a:pt x="13860" y="2999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ïšļïḑè"/>
              <p:cNvSpPr/>
              <p:nvPr/>
            </p:nvSpPr>
            <p:spPr>
              <a:xfrm>
                <a:off x="4441929" y="-1542609"/>
                <a:ext cx="34011" cy="35255"/>
              </a:xfrm>
              <a:custGeom>
                <a:avLst/>
                <a:gdLst>
                  <a:gd name="connsiteX0" fmla="*/ 16286 w 34011"/>
                  <a:gd name="connsiteY0" fmla="*/ 35238 h 35255"/>
                  <a:gd name="connsiteX1" fmla="*/ 17726 w 34011"/>
                  <a:gd name="connsiteY1" fmla="*/ 18 h 35255"/>
                  <a:gd name="connsiteX2" fmla="*/ 16286 w 34011"/>
                  <a:gd name="connsiteY2" fmla="*/ 35238 h 35255"/>
                  <a:gd name="connsiteX3" fmla="*/ 16286 w 34011"/>
                  <a:gd name="connsiteY3" fmla="*/ 35238 h 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011" h="35255">
                    <a:moveTo>
                      <a:pt x="16286" y="35238"/>
                    </a:moveTo>
                    <a:cubicBezTo>
                      <a:pt x="38937" y="36155"/>
                      <a:pt x="40377" y="934"/>
                      <a:pt x="17726" y="18"/>
                    </a:cubicBezTo>
                    <a:cubicBezTo>
                      <a:pt x="-4926" y="-899"/>
                      <a:pt x="-6366" y="34322"/>
                      <a:pt x="16286" y="35238"/>
                    </a:cubicBezTo>
                    <a:lnTo>
                      <a:pt x="16286" y="35238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îşḷiḋè"/>
              <p:cNvSpPr/>
              <p:nvPr/>
            </p:nvSpPr>
            <p:spPr>
              <a:xfrm>
                <a:off x="4777630" y="-1452771"/>
                <a:ext cx="43555" cy="27030"/>
              </a:xfrm>
              <a:custGeom>
                <a:avLst/>
                <a:gdLst>
                  <a:gd name="connsiteX0" fmla="*/ 7916 w 43555"/>
                  <a:gd name="connsiteY0" fmla="*/ 23306 h 27030"/>
                  <a:gd name="connsiteX1" fmla="*/ 35673 w 43555"/>
                  <a:gd name="connsiteY1" fmla="*/ 26056 h 27030"/>
                  <a:gd name="connsiteX2" fmla="*/ 38947 w 43555"/>
                  <a:gd name="connsiteY2" fmla="*/ 7201 h 27030"/>
                  <a:gd name="connsiteX3" fmla="*/ 12106 w 43555"/>
                  <a:gd name="connsiteY3" fmla="*/ 0 h 27030"/>
                  <a:gd name="connsiteX4" fmla="*/ 7916 w 43555"/>
                  <a:gd name="connsiteY4" fmla="*/ 23306 h 27030"/>
                  <a:gd name="connsiteX5" fmla="*/ 7916 w 43555"/>
                  <a:gd name="connsiteY5" fmla="*/ 23306 h 27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3555" h="27030">
                    <a:moveTo>
                      <a:pt x="7916" y="23306"/>
                    </a:moveTo>
                    <a:cubicBezTo>
                      <a:pt x="17212" y="26972"/>
                      <a:pt x="25853" y="28020"/>
                      <a:pt x="35673" y="26056"/>
                    </a:cubicBezTo>
                    <a:cubicBezTo>
                      <a:pt x="44446" y="24353"/>
                      <a:pt x="46410" y="11784"/>
                      <a:pt x="38947" y="7201"/>
                    </a:cubicBezTo>
                    <a:cubicBezTo>
                      <a:pt x="30436" y="1964"/>
                      <a:pt x="21925" y="0"/>
                      <a:pt x="12106" y="0"/>
                    </a:cubicBezTo>
                    <a:cubicBezTo>
                      <a:pt x="-1511" y="131"/>
                      <a:pt x="-4654" y="18461"/>
                      <a:pt x="7916" y="23306"/>
                    </a:cubicBezTo>
                    <a:lnTo>
                      <a:pt x="7916" y="23306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i$ḻïdê"/>
              <p:cNvSpPr/>
              <p:nvPr/>
            </p:nvSpPr>
            <p:spPr>
              <a:xfrm>
                <a:off x="4861068" y="-1234912"/>
                <a:ext cx="34590" cy="31437"/>
              </a:xfrm>
              <a:custGeom>
                <a:avLst/>
                <a:gdLst>
                  <a:gd name="connsiteX0" fmla="*/ 3037 w 34590"/>
                  <a:gd name="connsiteY0" fmla="*/ 19783 h 31437"/>
                  <a:gd name="connsiteX1" fmla="*/ 22022 w 34590"/>
                  <a:gd name="connsiteY1" fmla="*/ 31436 h 31437"/>
                  <a:gd name="connsiteX2" fmla="*/ 34068 w 34590"/>
                  <a:gd name="connsiteY2" fmla="*/ 16902 h 31437"/>
                  <a:gd name="connsiteX3" fmla="*/ 25557 w 34590"/>
                  <a:gd name="connsiteY3" fmla="*/ 4988 h 31437"/>
                  <a:gd name="connsiteX4" fmla="*/ 15344 w 34590"/>
                  <a:gd name="connsiteY4" fmla="*/ 536 h 31437"/>
                  <a:gd name="connsiteX5" fmla="*/ 1727 w 34590"/>
                  <a:gd name="connsiteY5" fmla="*/ 5380 h 31437"/>
                  <a:gd name="connsiteX6" fmla="*/ 3037 w 34590"/>
                  <a:gd name="connsiteY6" fmla="*/ 19783 h 31437"/>
                  <a:gd name="connsiteX7" fmla="*/ 3037 w 34590"/>
                  <a:gd name="connsiteY7" fmla="*/ 19783 h 3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590" h="31437">
                    <a:moveTo>
                      <a:pt x="3037" y="19783"/>
                    </a:moveTo>
                    <a:cubicBezTo>
                      <a:pt x="7881" y="26329"/>
                      <a:pt x="13511" y="31305"/>
                      <a:pt x="22022" y="31436"/>
                    </a:cubicBezTo>
                    <a:cubicBezTo>
                      <a:pt x="28961" y="31567"/>
                      <a:pt x="36686" y="24496"/>
                      <a:pt x="34068" y="16902"/>
                    </a:cubicBezTo>
                    <a:cubicBezTo>
                      <a:pt x="32235" y="11665"/>
                      <a:pt x="30140" y="8130"/>
                      <a:pt x="25557" y="4988"/>
                    </a:cubicBezTo>
                    <a:cubicBezTo>
                      <a:pt x="22415" y="2893"/>
                      <a:pt x="18880" y="1714"/>
                      <a:pt x="15344" y="536"/>
                    </a:cubicBezTo>
                    <a:cubicBezTo>
                      <a:pt x="10500" y="-1035"/>
                      <a:pt x="4346" y="929"/>
                      <a:pt x="1727" y="5380"/>
                    </a:cubicBezTo>
                    <a:cubicBezTo>
                      <a:pt x="-1153" y="10225"/>
                      <a:pt x="-237" y="15331"/>
                      <a:pt x="3037" y="19783"/>
                    </a:cubicBezTo>
                    <a:lnTo>
                      <a:pt x="3037" y="1978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" name="ïṧľîde"/>
              <p:cNvSpPr/>
              <p:nvPr/>
            </p:nvSpPr>
            <p:spPr>
              <a:xfrm>
                <a:off x="4779625" y="-1132338"/>
                <a:ext cx="38842" cy="33176"/>
              </a:xfrm>
              <a:custGeom>
                <a:avLst/>
                <a:gdLst>
                  <a:gd name="connsiteX0" fmla="*/ 7753 w 38842"/>
                  <a:gd name="connsiteY0" fmla="*/ 24573 h 33176"/>
                  <a:gd name="connsiteX1" fmla="*/ 9586 w 38842"/>
                  <a:gd name="connsiteY1" fmla="*/ 25097 h 33176"/>
                  <a:gd name="connsiteX2" fmla="*/ 11681 w 38842"/>
                  <a:gd name="connsiteY2" fmla="*/ 25490 h 33176"/>
                  <a:gd name="connsiteX3" fmla="*/ 12467 w 38842"/>
                  <a:gd name="connsiteY3" fmla="*/ 25621 h 33176"/>
                  <a:gd name="connsiteX4" fmla="*/ 13253 w 38842"/>
                  <a:gd name="connsiteY4" fmla="*/ 26014 h 33176"/>
                  <a:gd name="connsiteX5" fmla="*/ 11681 w 38842"/>
                  <a:gd name="connsiteY5" fmla="*/ 25359 h 33176"/>
                  <a:gd name="connsiteX6" fmla="*/ 11681 w 38842"/>
                  <a:gd name="connsiteY6" fmla="*/ 25228 h 33176"/>
                  <a:gd name="connsiteX7" fmla="*/ 11812 w 38842"/>
                  <a:gd name="connsiteY7" fmla="*/ 25621 h 33176"/>
                  <a:gd name="connsiteX8" fmla="*/ 15479 w 38842"/>
                  <a:gd name="connsiteY8" fmla="*/ 29025 h 33176"/>
                  <a:gd name="connsiteX9" fmla="*/ 14562 w 38842"/>
                  <a:gd name="connsiteY9" fmla="*/ 28370 h 33176"/>
                  <a:gd name="connsiteX10" fmla="*/ 21109 w 38842"/>
                  <a:gd name="connsiteY10" fmla="*/ 32429 h 33176"/>
                  <a:gd name="connsiteX11" fmla="*/ 32893 w 38842"/>
                  <a:gd name="connsiteY11" fmla="*/ 30465 h 33176"/>
                  <a:gd name="connsiteX12" fmla="*/ 38653 w 38842"/>
                  <a:gd name="connsiteY12" fmla="*/ 20122 h 33176"/>
                  <a:gd name="connsiteX13" fmla="*/ 23989 w 38842"/>
                  <a:gd name="connsiteY13" fmla="*/ 1136 h 33176"/>
                  <a:gd name="connsiteX14" fmla="*/ 3564 w 38842"/>
                  <a:gd name="connsiteY14" fmla="*/ 5064 h 33176"/>
                  <a:gd name="connsiteX15" fmla="*/ 7753 w 38842"/>
                  <a:gd name="connsiteY15" fmla="*/ 24573 h 33176"/>
                  <a:gd name="connsiteX16" fmla="*/ 7753 w 38842"/>
                  <a:gd name="connsiteY16" fmla="*/ 24573 h 3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8842" h="33176">
                    <a:moveTo>
                      <a:pt x="7753" y="24573"/>
                    </a:moveTo>
                    <a:cubicBezTo>
                      <a:pt x="8408" y="24704"/>
                      <a:pt x="8932" y="24966"/>
                      <a:pt x="9586" y="25097"/>
                    </a:cubicBezTo>
                    <a:cubicBezTo>
                      <a:pt x="10241" y="25359"/>
                      <a:pt x="10896" y="25490"/>
                      <a:pt x="11681" y="25490"/>
                    </a:cubicBezTo>
                    <a:cubicBezTo>
                      <a:pt x="13645" y="25883"/>
                      <a:pt x="13907" y="25883"/>
                      <a:pt x="12467" y="25621"/>
                    </a:cubicBezTo>
                    <a:cubicBezTo>
                      <a:pt x="10241" y="24311"/>
                      <a:pt x="12991" y="26406"/>
                      <a:pt x="13253" y="26014"/>
                    </a:cubicBezTo>
                    <a:cubicBezTo>
                      <a:pt x="12729" y="25752"/>
                      <a:pt x="12205" y="25490"/>
                      <a:pt x="11681" y="25359"/>
                    </a:cubicBezTo>
                    <a:cubicBezTo>
                      <a:pt x="12598" y="26014"/>
                      <a:pt x="12598" y="26014"/>
                      <a:pt x="11681" y="25228"/>
                    </a:cubicBezTo>
                    <a:cubicBezTo>
                      <a:pt x="11027" y="23919"/>
                      <a:pt x="11289" y="24966"/>
                      <a:pt x="11812" y="25621"/>
                    </a:cubicBezTo>
                    <a:cubicBezTo>
                      <a:pt x="12860" y="26930"/>
                      <a:pt x="14038" y="27978"/>
                      <a:pt x="15479" y="29025"/>
                    </a:cubicBezTo>
                    <a:cubicBezTo>
                      <a:pt x="14955" y="28632"/>
                      <a:pt x="13253" y="27061"/>
                      <a:pt x="14562" y="28370"/>
                    </a:cubicBezTo>
                    <a:cubicBezTo>
                      <a:pt x="16526" y="30465"/>
                      <a:pt x="18621" y="31251"/>
                      <a:pt x="21109" y="32429"/>
                    </a:cubicBezTo>
                    <a:cubicBezTo>
                      <a:pt x="24906" y="34131"/>
                      <a:pt x="29750" y="32691"/>
                      <a:pt x="32893" y="30465"/>
                    </a:cubicBezTo>
                    <a:cubicBezTo>
                      <a:pt x="36559" y="27847"/>
                      <a:pt x="37868" y="24573"/>
                      <a:pt x="38653" y="20122"/>
                    </a:cubicBezTo>
                    <a:cubicBezTo>
                      <a:pt x="40225" y="11218"/>
                      <a:pt x="31714" y="3493"/>
                      <a:pt x="23989" y="1136"/>
                    </a:cubicBezTo>
                    <a:cubicBezTo>
                      <a:pt x="17050" y="-959"/>
                      <a:pt x="8801" y="-435"/>
                      <a:pt x="3564" y="5064"/>
                    </a:cubicBezTo>
                    <a:cubicBezTo>
                      <a:pt x="-2066" y="10825"/>
                      <a:pt x="-1281" y="22348"/>
                      <a:pt x="7753" y="24573"/>
                    </a:cubicBezTo>
                    <a:lnTo>
                      <a:pt x="7753" y="2457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ïšlïďê"/>
              <p:cNvSpPr/>
              <p:nvPr/>
            </p:nvSpPr>
            <p:spPr>
              <a:xfrm>
                <a:off x="4581678" y="-1174519"/>
                <a:ext cx="30654" cy="28619"/>
              </a:xfrm>
              <a:custGeom>
                <a:avLst/>
                <a:gdLst>
                  <a:gd name="connsiteX0" fmla="*/ 17681 w 30654"/>
                  <a:gd name="connsiteY0" fmla="*/ 28260 h 28619"/>
                  <a:gd name="connsiteX1" fmla="*/ 26716 w 30654"/>
                  <a:gd name="connsiteY1" fmla="*/ 23808 h 28619"/>
                  <a:gd name="connsiteX2" fmla="*/ 27501 w 30654"/>
                  <a:gd name="connsiteY2" fmla="*/ 5739 h 28619"/>
                  <a:gd name="connsiteX3" fmla="*/ 18729 w 30654"/>
                  <a:gd name="connsiteY3" fmla="*/ 633 h 28619"/>
                  <a:gd name="connsiteX4" fmla="*/ 6 w 30654"/>
                  <a:gd name="connsiteY4" fmla="*/ 13726 h 28619"/>
                  <a:gd name="connsiteX5" fmla="*/ 17681 w 30654"/>
                  <a:gd name="connsiteY5" fmla="*/ 28260 h 28619"/>
                  <a:gd name="connsiteX6" fmla="*/ 17681 w 30654"/>
                  <a:gd name="connsiteY6" fmla="*/ 28260 h 28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654" h="28619">
                    <a:moveTo>
                      <a:pt x="17681" y="28260"/>
                    </a:moveTo>
                    <a:cubicBezTo>
                      <a:pt x="21086" y="27474"/>
                      <a:pt x="24359" y="26427"/>
                      <a:pt x="26716" y="23808"/>
                    </a:cubicBezTo>
                    <a:cubicBezTo>
                      <a:pt x="31691" y="18440"/>
                      <a:pt x="31953" y="11500"/>
                      <a:pt x="27501" y="5739"/>
                    </a:cubicBezTo>
                    <a:cubicBezTo>
                      <a:pt x="25276" y="2859"/>
                      <a:pt x="22133" y="1680"/>
                      <a:pt x="18729" y="633"/>
                    </a:cubicBezTo>
                    <a:cubicBezTo>
                      <a:pt x="9826" y="-2117"/>
                      <a:pt x="398" y="4430"/>
                      <a:pt x="6" y="13726"/>
                    </a:cubicBezTo>
                    <a:cubicBezTo>
                      <a:pt x="-256" y="23022"/>
                      <a:pt x="8647" y="30355"/>
                      <a:pt x="17681" y="28260"/>
                    </a:cubicBezTo>
                    <a:lnTo>
                      <a:pt x="17681" y="28260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iśḻíḍê"/>
              <p:cNvSpPr/>
              <p:nvPr/>
            </p:nvSpPr>
            <p:spPr>
              <a:xfrm>
                <a:off x="5030138" y="-1092892"/>
                <a:ext cx="47889" cy="34648"/>
              </a:xfrm>
              <a:custGeom>
                <a:avLst/>
                <a:gdLst>
                  <a:gd name="connsiteX0" fmla="*/ 3394 w 47889"/>
                  <a:gd name="connsiteY0" fmla="*/ 22182 h 34648"/>
                  <a:gd name="connsiteX1" fmla="*/ 20284 w 47889"/>
                  <a:gd name="connsiteY1" fmla="*/ 31871 h 34648"/>
                  <a:gd name="connsiteX2" fmla="*/ 41102 w 47889"/>
                  <a:gd name="connsiteY2" fmla="*/ 32394 h 34648"/>
                  <a:gd name="connsiteX3" fmla="*/ 46602 w 47889"/>
                  <a:gd name="connsiteY3" fmla="*/ 14587 h 34648"/>
                  <a:gd name="connsiteX4" fmla="*/ 30497 w 47889"/>
                  <a:gd name="connsiteY4" fmla="*/ 2934 h 34648"/>
                  <a:gd name="connsiteX5" fmla="*/ 13606 w 47889"/>
                  <a:gd name="connsiteY5" fmla="*/ 54 h 34648"/>
                  <a:gd name="connsiteX6" fmla="*/ 1299 w 47889"/>
                  <a:gd name="connsiteY6" fmla="*/ 7648 h 34648"/>
                  <a:gd name="connsiteX7" fmla="*/ 3394 w 47889"/>
                  <a:gd name="connsiteY7" fmla="*/ 22182 h 34648"/>
                  <a:gd name="connsiteX8" fmla="*/ 3394 w 47889"/>
                  <a:gd name="connsiteY8" fmla="*/ 22182 h 34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889" h="34648">
                    <a:moveTo>
                      <a:pt x="3394" y="22182"/>
                    </a:moveTo>
                    <a:cubicBezTo>
                      <a:pt x="8107" y="26502"/>
                      <a:pt x="14261" y="29514"/>
                      <a:pt x="20284" y="31871"/>
                    </a:cubicBezTo>
                    <a:cubicBezTo>
                      <a:pt x="27223" y="34620"/>
                      <a:pt x="34294" y="36191"/>
                      <a:pt x="41102" y="32394"/>
                    </a:cubicBezTo>
                    <a:cubicBezTo>
                      <a:pt x="47780" y="28728"/>
                      <a:pt x="49351" y="21265"/>
                      <a:pt x="46602" y="14587"/>
                    </a:cubicBezTo>
                    <a:cubicBezTo>
                      <a:pt x="43721" y="7910"/>
                      <a:pt x="37043" y="4898"/>
                      <a:pt x="30497" y="2934"/>
                    </a:cubicBezTo>
                    <a:cubicBezTo>
                      <a:pt x="25390" y="1494"/>
                      <a:pt x="18844" y="-339"/>
                      <a:pt x="13606" y="54"/>
                    </a:cubicBezTo>
                    <a:cubicBezTo>
                      <a:pt x="8238" y="447"/>
                      <a:pt x="3525" y="2542"/>
                      <a:pt x="1299" y="7648"/>
                    </a:cubicBezTo>
                    <a:cubicBezTo>
                      <a:pt x="-796" y="12231"/>
                      <a:pt x="-534" y="18646"/>
                      <a:pt x="3394" y="22182"/>
                    </a:cubicBezTo>
                    <a:lnTo>
                      <a:pt x="3394" y="22182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2" name="ïśḻîḋe"/>
              <p:cNvSpPr/>
              <p:nvPr/>
            </p:nvSpPr>
            <p:spPr>
              <a:xfrm>
                <a:off x="4895877" y="-1306871"/>
                <a:ext cx="30044" cy="29460"/>
              </a:xfrm>
              <a:custGeom>
                <a:avLst/>
                <a:gdLst>
                  <a:gd name="connsiteX0" fmla="*/ 1877 w 30044"/>
                  <a:gd name="connsiteY0" fmla="*/ 20646 h 29460"/>
                  <a:gd name="connsiteX1" fmla="*/ 2270 w 30044"/>
                  <a:gd name="connsiteY1" fmla="*/ 21693 h 29460"/>
                  <a:gd name="connsiteX2" fmla="*/ 30028 w 30044"/>
                  <a:gd name="connsiteY2" fmla="*/ 15408 h 29460"/>
                  <a:gd name="connsiteX3" fmla="*/ 2925 w 30044"/>
                  <a:gd name="connsiteY3" fmla="*/ 6898 h 29460"/>
                  <a:gd name="connsiteX4" fmla="*/ 2139 w 30044"/>
                  <a:gd name="connsiteY4" fmla="*/ 7814 h 29460"/>
                  <a:gd name="connsiteX5" fmla="*/ 1616 w 30044"/>
                  <a:gd name="connsiteY5" fmla="*/ 20777 h 29460"/>
                  <a:gd name="connsiteX6" fmla="*/ 2270 w 30044"/>
                  <a:gd name="connsiteY6" fmla="*/ 21693 h 29460"/>
                  <a:gd name="connsiteX7" fmla="*/ 30028 w 30044"/>
                  <a:gd name="connsiteY7" fmla="*/ 15408 h 29460"/>
                  <a:gd name="connsiteX8" fmla="*/ 2925 w 30044"/>
                  <a:gd name="connsiteY8" fmla="*/ 6898 h 29460"/>
                  <a:gd name="connsiteX9" fmla="*/ 1877 w 30044"/>
                  <a:gd name="connsiteY9" fmla="*/ 20646 h 29460"/>
                  <a:gd name="connsiteX10" fmla="*/ 1877 w 30044"/>
                  <a:gd name="connsiteY10" fmla="*/ 20646 h 29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044" h="29460">
                    <a:moveTo>
                      <a:pt x="1877" y="20646"/>
                    </a:moveTo>
                    <a:cubicBezTo>
                      <a:pt x="2008" y="21039"/>
                      <a:pt x="2139" y="21300"/>
                      <a:pt x="2270" y="21693"/>
                    </a:cubicBezTo>
                    <a:cubicBezTo>
                      <a:pt x="7900" y="35703"/>
                      <a:pt x="29373" y="29025"/>
                      <a:pt x="30028" y="15408"/>
                    </a:cubicBezTo>
                    <a:cubicBezTo>
                      <a:pt x="30683" y="-434"/>
                      <a:pt x="11697" y="-3708"/>
                      <a:pt x="2925" y="6898"/>
                    </a:cubicBezTo>
                    <a:cubicBezTo>
                      <a:pt x="2663" y="7160"/>
                      <a:pt x="2401" y="7552"/>
                      <a:pt x="2139" y="7814"/>
                    </a:cubicBezTo>
                    <a:cubicBezTo>
                      <a:pt x="-479" y="10957"/>
                      <a:pt x="-741" y="17503"/>
                      <a:pt x="1616" y="20777"/>
                    </a:cubicBezTo>
                    <a:cubicBezTo>
                      <a:pt x="1877" y="21039"/>
                      <a:pt x="2008" y="21431"/>
                      <a:pt x="2270" y="21693"/>
                    </a:cubicBezTo>
                    <a:cubicBezTo>
                      <a:pt x="10126" y="32953"/>
                      <a:pt x="29373" y="31120"/>
                      <a:pt x="30028" y="15408"/>
                    </a:cubicBezTo>
                    <a:cubicBezTo>
                      <a:pt x="30552" y="1791"/>
                      <a:pt x="9733" y="-6719"/>
                      <a:pt x="2925" y="6898"/>
                    </a:cubicBezTo>
                    <a:cubicBezTo>
                      <a:pt x="437" y="11873"/>
                      <a:pt x="-217" y="15408"/>
                      <a:pt x="1877" y="20646"/>
                    </a:cubicBezTo>
                    <a:lnTo>
                      <a:pt x="1877" y="20646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îśliďe"/>
              <p:cNvSpPr/>
              <p:nvPr/>
            </p:nvSpPr>
            <p:spPr>
              <a:xfrm>
                <a:off x="4025047" y="-1493116"/>
                <a:ext cx="44916" cy="35507"/>
              </a:xfrm>
              <a:custGeom>
                <a:avLst/>
                <a:gdLst>
                  <a:gd name="connsiteX0" fmla="*/ 41418 w 44916"/>
                  <a:gd name="connsiteY0" fmla="*/ 13241 h 35507"/>
                  <a:gd name="connsiteX1" fmla="*/ 11435 w 44916"/>
                  <a:gd name="connsiteY1" fmla="*/ 410 h 35507"/>
                  <a:gd name="connsiteX2" fmla="*/ 1746 w 44916"/>
                  <a:gd name="connsiteY2" fmla="*/ 21621 h 35507"/>
                  <a:gd name="connsiteX3" fmla="*/ 31074 w 44916"/>
                  <a:gd name="connsiteY3" fmla="*/ 35500 h 35507"/>
                  <a:gd name="connsiteX4" fmla="*/ 41418 w 44916"/>
                  <a:gd name="connsiteY4" fmla="*/ 13241 h 35507"/>
                  <a:gd name="connsiteX5" fmla="*/ 41418 w 44916"/>
                  <a:gd name="connsiteY5" fmla="*/ 13241 h 35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916" h="35507">
                    <a:moveTo>
                      <a:pt x="41418" y="13241"/>
                    </a:moveTo>
                    <a:cubicBezTo>
                      <a:pt x="33955" y="5385"/>
                      <a:pt x="22695" y="-1816"/>
                      <a:pt x="11435" y="410"/>
                    </a:cubicBezTo>
                    <a:cubicBezTo>
                      <a:pt x="2400" y="2112"/>
                      <a:pt x="-2968" y="13634"/>
                      <a:pt x="1746" y="21621"/>
                    </a:cubicBezTo>
                    <a:cubicBezTo>
                      <a:pt x="7638" y="31441"/>
                      <a:pt x="20207" y="35238"/>
                      <a:pt x="31074" y="35500"/>
                    </a:cubicBezTo>
                    <a:cubicBezTo>
                      <a:pt x="42466" y="35893"/>
                      <a:pt x="49536" y="21752"/>
                      <a:pt x="41418" y="13241"/>
                    </a:cubicBezTo>
                    <a:lnTo>
                      <a:pt x="41418" y="13241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ïš1îďé"/>
              <p:cNvSpPr/>
              <p:nvPr/>
            </p:nvSpPr>
            <p:spPr>
              <a:xfrm>
                <a:off x="4159550" y="-1372037"/>
                <a:ext cx="45448" cy="26816"/>
              </a:xfrm>
              <a:custGeom>
                <a:avLst/>
                <a:gdLst>
                  <a:gd name="connsiteX0" fmla="*/ 39681 w 45448"/>
                  <a:gd name="connsiteY0" fmla="*/ 6073 h 26816"/>
                  <a:gd name="connsiteX1" fmla="*/ 13756 w 45448"/>
                  <a:gd name="connsiteY1" fmla="*/ 50 h 26816"/>
                  <a:gd name="connsiteX2" fmla="*/ 8 w 45448"/>
                  <a:gd name="connsiteY2" fmla="*/ 12751 h 26816"/>
                  <a:gd name="connsiteX3" fmla="*/ 12709 w 45448"/>
                  <a:gd name="connsiteY3" fmla="*/ 26499 h 26816"/>
                  <a:gd name="connsiteX4" fmla="*/ 39026 w 45448"/>
                  <a:gd name="connsiteY4" fmla="*/ 22571 h 26816"/>
                  <a:gd name="connsiteX5" fmla="*/ 39681 w 45448"/>
                  <a:gd name="connsiteY5" fmla="*/ 6073 h 26816"/>
                  <a:gd name="connsiteX6" fmla="*/ 39681 w 45448"/>
                  <a:gd name="connsiteY6" fmla="*/ 6073 h 26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448" h="26816">
                    <a:moveTo>
                      <a:pt x="39681" y="6073"/>
                    </a:moveTo>
                    <a:cubicBezTo>
                      <a:pt x="31563" y="3193"/>
                      <a:pt x="22398" y="-473"/>
                      <a:pt x="13756" y="50"/>
                    </a:cubicBezTo>
                    <a:cubicBezTo>
                      <a:pt x="6686" y="574"/>
                      <a:pt x="401" y="5026"/>
                      <a:pt x="8" y="12751"/>
                    </a:cubicBezTo>
                    <a:cubicBezTo>
                      <a:pt x="-253" y="20476"/>
                      <a:pt x="5639" y="25451"/>
                      <a:pt x="12709" y="26499"/>
                    </a:cubicBezTo>
                    <a:cubicBezTo>
                      <a:pt x="21350" y="27808"/>
                      <a:pt x="30777" y="24797"/>
                      <a:pt x="39026" y="22571"/>
                    </a:cubicBezTo>
                    <a:cubicBezTo>
                      <a:pt x="47275" y="20476"/>
                      <a:pt x="47668" y="8954"/>
                      <a:pt x="39681" y="6073"/>
                    </a:cubicBezTo>
                    <a:lnTo>
                      <a:pt x="39681" y="607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íśḷídé"/>
              <p:cNvSpPr/>
              <p:nvPr/>
            </p:nvSpPr>
            <p:spPr>
              <a:xfrm>
                <a:off x="4186259" y="-1603795"/>
                <a:ext cx="29213" cy="35870"/>
              </a:xfrm>
              <a:custGeom>
                <a:avLst/>
                <a:gdLst>
                  <a:gd name="connsiteX0" fmla="*/ 28684 w 29213"/>
                  <a:gd name="connsiteY0" fmla="*/ 30959 h 35870"/>
                  <a:gd name="connsiteX1" fmla="*/ 26851 w 29213"/>
                  <a:gd name="connsiteY1" fmla="*/ 10664 h 35870"/>
                  <a:gd name="connsiteX2" fmla="*/ 10484 w 29213"/>
                  <a:gd name="connsiteY2" fmla="*/ 452 h 35870"/>
                  <a:gd name="connsiteX3" fmla="*/ 4331 w 29213"/>
                  <a:gd name="connsiteY3" fmla="*/ 3725 h 35870"/>
                  <a:gd name="connsiteX4" fmla="*/ 3545 w 29213"/>
                  <a:gd name="connsiteY4" fmla="*/ 22972 h 35870"/>
                  <a:gd name="connsiteX5" fmla="*/ 19781 w 29213"/>
                  <a:gd name="connsiteY5" fmla="*/ 35541 h 35870"/>
                  <a:gd name="connsiteX6" fmla="*/ 28684 w 29213"/>
                  <a:gd name="connsiteY6" fmla="*/ 30959 h 35870"/>
                  <a:gd name="connsiteX7" fmla="*/ 28684 w 29213"/>
                  <a:gd name="connsiteY7" fmla="*/ 30959 h 35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213" h="35870">
                    <a:moveTo>
                      <a:pt x="28684" y="30959"/>
                    </a:moveTo>
                    <a:cubicBezTo>
                      <a:pt x="29993" y="24281"/>
                      <a:pt x="28684" y="17211"/>
                      <a:pt x="26851" y="10664"/>
                    </a:cubicBezTo>
                    <a:cubicBezTo>
                      <a:pt x="24887" y="3856"/>
                      <a:pt x="17817" y="-1643"/>
                      <a:pt x="10484" y="452"/>
                    </a:cubicBezTo>
                    <a:cubicBezTo>
                      <a:pt x="7997" y="1106"/>
                      <a:pt x="6295" y="2023"/>
                      <a:pt x="4331" y="3725"/>
                    </a:cubicBezTo>
                    <a:cubicBezTo>
                      <a:pt x="-1169" y="8700"/>
                      <a:pt x="-1430" y="17604"/>
                      <a:pt x="3545" y="22972"/>
                    </a:cubicBezTo>
                    <a:cubicBezTo>
                      <a:pt x="8128" y="27947"/>
                      <a:pt x="13365" y="33185"/>
                      <a:pt x="19781" y="35541"/>
                    </a:cubicBezTo>
                    <a:cubicBezTo>
                      <a:pt x="23054" y="36720"/>
                      <a:pt x="27898" y="34625"/>
                      <a:pt x="28684" y="30959"/>
                    </a:cubicBezTo>
                    <a:lnTo>
                      <a:pt x="28684" y="3095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ïṧḻïde"/>
              <p:cNvSpPr/>
              <p:nvPr/>
            </p:nvSpPr>
            <p:spPr>
              <a:xfrm>
                <a:off x="4343279" y="-1617663"/>
                <a:ext cx="32868" cy="34050"/>
              </a:xfrm>
              <a:custGeom>
                <a:avLst/>
                <a:gdLst>
                  <a:gd name="connsiteX0" fmla="*/ 32579 w 32868"/>
                  <a:gd name="connsiteY0" fmla="*/ 24663 h 34050"/>
                  <a:gd name="connsiteX1" fmla="*/ 31270 w 32868"/>
                  <a:gd name="connsiteY1" fmla="*/ 17331 h 34050"/>
                  <a:gd name="connsiteX2" fmla="*/ 27865 w 32868"/>
                  <a:gd name="connsiteY2" fmla="*/ 7773 h 34050"/>
                  <a:gd name="connsiteX3" fmla="*/ 4690 w 32868"/>
                  <a:gd name="connsiteY3" fmla="*/ 3845 h 34050"/>
                  <a:gd name="connsiteX4" fmla="*/ 6785 w 32868"/>
                  <a:gd name="connsiteY4" fmla="*/ 27282 h 34050"/>
                  <a:gd name="connsiteX5" fmla="*/ 15951 w 32868"/>
                  <a:gd name="connsiteY5" fmla="*/ 31603 h 34050"/>
                  <a:gd name="connsiteX6" fmla="*/ 23021 w 32868"/>
                  <a:gd name="connsiteY6" fmla="*/ 33567 h 34050"/>
                  <a:gd name="connsiteX7" fmla="*/ 32579 w 32868"/>
                  <a:gd name="connsiteY7" fmla="*/ 24663 h 34050"/>
                  <a:gd name="connsiteX8" fmla="*/ 32579 w 32868"/>
                  <a:gd name="connsiteY8" fmla="*/ 24663 h 34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868" h="34050">
                    <a:moveTo>
                      <a:pt x="32579" y="24663"/>
                    </a:moveTo>
                    <a:cubicBezTo>
                      <a:pt x="31793" y="22176"/>
                      <a:pt x="31793" y="19819"/>
                      <a:pt x="31270" y="17331"/>
                    </a:cubicBezTo>
                    <a:cubicBezTo>
                      <a:pt x="30615" y="14189"/>
                      <a:pt x="29175" y="10654"/>
                      <a:pt x="27865" y="7773"/>
                    </a:cubicBezTo>
                    <a:cubicBezTo>
                      <a:pt x="23938" y="-1130"/>
                      <a:pt x="11368" y="-2309"/>
                      <a:pt x="4690" y="3845"/>
                    </a:cubicBezTo>
                    <a:cubicBezTo>
                      <a:pt x="-2118" y="10130"/>
                      <a:pt x="-1594" y="22437"/>
                      <a:pt x="6785" y="27282"/>
                    </a:cubicBezTo>
                    <a:cubicBezTo>
                      <a:pt x="9535" y="28853"/>
                      <a:pt x="12939" y="30555"/>
                      <a:pt x="15951" y="31603"/>
                    </a:cubicBezTo>
                    <a:cubicBezTo>
                      <a:pt x="18307" y="32388"/>
                      <a:pt x="20664" y="32650"/>
                      <a:pt x="23021" y="33567"/>
                    </a:cubicBezTo>
                    <a:cubicBezTo>
                      <a:pt x="28127" y="35793"/>
                      <a:pt x="34281" y="29901"/>
                      <a:pt x="32579" y="24663"/>
                    </a:cubicBezTo>
                    <a:lnTo>
                      <a:pt x="32579" y="2466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íšḷiďê"/>
              <p:cNvSpPr/>
              <p:nvPr/>
            </p:nvSpPr>
            <p:spPr>
              <a:xfrm>
                <a:off x="4563867" y="-1582346"/>
                <a:ext cx="40648" cy="35704"/>
              </a:xfrm>
              <a:custGeom>
                <a:avLst/>
                <a:gdLst>
                  <a:gd name="connsiteX0" fmla="*/ 39682 w 40648"/>
                  <a:gd name="connsiteY0" fmla="*/ 25745 h 35704"/>
                  <a:gd name="connsiteX1" fmla="*/ 32088 w 40648"/>
                  <a:gd name="connsiteY1" fmla="*/ 11736 h 35704"/>
                  <a:gd name="connsiteX2" fmla="*/ 9699 w 40648"/>
                  <a:gd name="connsiteY2" fmla="*/ 476 h 35704"/>
                  <a:gd name="connsiteX3" fmla="*/ 10 w 40648"/>
                  <a:gd name="connsiteY3" fmla="*/ 12129 h 35704"/>
                  <a:gd name="connsiteX4" fmla="*/ 4069 w 40648"/>
                  <a:gd name="connsiteY4" fmla="*/ 24829 h 35704"/>
                  <a:gd name="connsiteX5" fmla="*/ 16638 w 40648"/>
                  <a:gd name="connsiteY5" fmla="*/ 31637 h 35704"/>
                  <a:gd name="connsiteX6" fmla="*/ 31565 w 40648"/>
                  <a:gd name="connsiteY6" fmla="*/ 35304 h 35704"/>
                  <a:gd name="connsiteX7" fmla="*/ 39682 w 40648"/>
                  <a:gd name="connsiteY7" fmla="*/ 25745 h 35704"/>
                  <a:gd name="connsiteX8" fmla="*/ 39682 w 40648"/>
                  <a:gd name="connsiteY8" fmla="*/ 25745 h 35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648" h="35704">
                    <a:moveTo>
                      <a:pt x="39682" y="25745"/>
                    </a:moveTo>
                    <a:cubicBezTo>
                      <a:pt x="36409" y="20901"/>
                      <a:pt x="34052" y="16057"/>
                      <a:pt x="32088" y="11736"/>
                    </a:cubicBezTo>
                    <a:cubicBezTo>
                      <a:pt x="27899" y="2701"/>
                      <a:pt x="19257" y="-1488"/>
                      <a:pt x="9699" y="476"/>
                    </a:cubicBezTo>
                    <a:cubicBezTo>
                      <a:pt x="4723" y="1523"/>
                      <a:pt x="-252" y="6891"/>
                      <a:pt x="10" y="12129"/>
                    </a:cubicBezTo>
                    <a:cubicBezTo>
                      <a:pt x="272" y="16973"/>
                      <a:pt x="926" y="21032"/>
                      <a:pt x="4069" y="24829"/>
                    </a:cubicBezTo>
                    <a:cubicBezTo>
                      <a:pt x="7211" y="28626"/>
                      <a:pt x="11794" y="30852"/>
                      <a:pt x="16638" y="31637"/>
                    </a:cubicBezTo>
                    <a:cubicBezTo>
                      <a:pt x="20959" y="32423"/>
                      <a:pt x="26196" y="33471"/>
                      <a:pt x="31565" y="35304"/>
                    </a:cubicBezTo>
                    <a:cubicBezTo>
                      <a:pt x="36802" y="37398"/>
                      <a:pt x="43087" y="30852"/>
                      <a:pt x="39682" y="25745"/>
                    </a:cubicBezTo>
                    <a:lnTo>
                      <a:pt x="39682" y="25745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ïṡľiďê"/>
              <p:cNvSpPr/>
              <p:nvPr/>
            </p:nvSpPr>
            <p:spPr>
              <a:xfrm>
                <a:off x="4471213" y="-1646163"/>
                <a:ext cx="31510" cy="33097"/>
              </a:xfrm>
              <a:custGeom>
                <a:avLst/>
                <a:gdLst>
                  <a:gd name="connsiteX0" fmla="*/ 30864 w 31510"/>
                  <a:gd name="connsiteY0" fmla="*/ 14407 h 33097"/>
                  <a:gd name="connsiteX1" fmla="*/ 25365 w 31510"/>
                  <a:gd name="connsiteY1" fmla="*/ 4718 h 33097"/>
                  <a:gd name="connsiteX2" fmla="*/ 7689 w 31510"/>
                  <a:gd name="connsiteY2" fmla="*/ 1706 h 33097"/>
                  <a:gd name="connsiteX3" fmla="*/ 226 w 31510"/>
                  <a:gd name="connsiteY3" fmla="*/ 18073 h 33097"/>
                  <a:gd name="connsiteX4" fmla="*/ 2582 w 31510"/>
                  <a:gd name="connsiteY4" fmla="*/ 25143 h 33097"/>
                  <a:gd name="connsiteX5" fmla="*/ 21306 w 31510"/>
                  <a:gd name="connsiteY5" fmla="*/ 32083 h 33097"/>
                  <a:gd name="connsiteX6" fmla="*/ 30864 w 31510"/>
                  <a:gd name="connsiteY6" fmla="*/ 14407 h 33097"/>
                  <a:gd name="connsiteX7" fmla="*/ 30864 w 31510"/>
                  <a:gd name="connsiteY7" fmla="*/ 14407 h 33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510" h="33097">
                    <a:moveTo>
                      <a:pt x="30864" y="14407"/>
                    </a:moveTo>
                    <a:cubicBezTo>
                      <a:pt x="29554" y="10610"/>
                      <a:pt x="27852" y="7729"/>
                      <a:pt x="25365" y="4718"/>
                    </a:cubicBezTo>
                    <a:cubicBezTo>
                      <a:pt x="21306" y="-127"/>
                      <a:pt x="13057" y="-1436"/>
                      <a:pt x="7689" y="1706"/>
                    </a:cubicBezTo>
                    <a:cubicBezTo>
                      <a:pt x="1797" y="5241"/>
                      <a:pt x="-822" y="11395"/>
                      <a:pt x="226" y="18073"/>
                    </a:cubicBezTo>
                    <a:cubicBezTo>
                      <a:pt x="618" y="20561"/>
                      <a:pt x="1273" y="22917"/>
                      <a:pt x="2582" y="25143"/>
                    </a:cubicBezTo>
                    <a:cubicBezTo>
                      <a:pt x="6379" y="31821"/>
                      <a:pt x="14235" y="34832"/>
                      <a:pt x="21306" y="32083"/>
                    </a:cubicBezTo>
                    <a:cubicBezTo>
                      <a:pt x="27721" y="29595"/>
                      <a:pt x="33482" y="21608"/>
                      <a:pt x="30864" y="14407"/>
                    </a:cubicBezTo>
                    <a:lnTo>
                      <a:pt x="30864" y="14407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iṧḻide"/>
              <p:cNvSpPr/>
              <p:nvPr/>
            </p:nvSpPr>
            <p:spPr>
              <a:xfrm>
                <a:off x="4903170" y="-1161399"/>
                <a:ext cx="26705" cy="27917"/>
              </a:xfrm>
              <a:custGeom>
                <a:avLst/>
                <a:gdLst>
                  <a:gd name="connsiteX0" fmla="*/ 15403 w 26705"/>
                  <a:gd name="connsiteY0" fmla="*/ 26924 h 27917"/>
                  <a:gd name="connsiteX1" fmla="*/ 17498 w 26705"/>
                  <a:gd name="connsiteY1" fmla="*/ 26138 h 27917"/>
                  <a:gd name="connsiteX2" fmla="*/ 18414 w 26705"/>
                  <a:gd name="connsiteY2" fmla="*/ 2309 h 27917"/>
                  <a:gd name="connsiteX3" fmla="*/ 16450 w 26705"/>
                  <a:gd name="connsiteY3" fmla="*/ 1392 h 27917"/>
                  <a:gd name="connsiteX4" fmla="*/ 15403 w 26705"/>
                  <a:gd name="connsiteY4" fmla="*/ 26924 h 27917"/>
                  <a:gd name="connsiteX5" fmla="*/ 15403 w 26705"/>
                  <a:gd name="connsiteY5" fmla="*/ 26924 h 27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705" h="27917">
                    <a:moveTo>
                      <a:pt x="15403" y="26924"/>
                    </a:moveTo>
                    <a:cubicBezTo>
                      <a:pt x="16057" y="26662"/>
                      <a:pt x="16843" y="26400"/>
                      <a:pt x="17498" y="26138"/>
                    </a:cubicBezTo>
                    <a:cubicBezTo>
                      <a:pt x="29282" y="21818"/>
                      <a:pt x="29936" y="7677"/>
                      <a:pt x="18414" y="2309"/>
                    </a:cubicBezTo>
                    <a:cubicBezTo>
                      <a:pt x="17760" y="2047"/>
                      <a:pt x="17105" y="1654"/>
                      <a:pt x="16450" y="1392"/>
                    </a:cubicBezTo>
                    <a:cubicBezTo>
                      <a:pt x="-4368" y="-8166"/>
                      <a:pt x="-6201" y="34911"/>
                      <a:pt x="15403" y="26924"/>
                    </a:cubicBezTo>
                    <a:lnTo>
                      <a:pt x="15403" y="26924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ïṩľíde"/>
              <p:cNvSpPr/>
              <p:nvPr/>
            </p:nvSpPr>
            <p:spPr>
              <a:xfrm>
                <a:off x="4695193" y="-1122872"/>
                <a:ext cx="25594" cy="36220"/>
              </a:xfrm>
              <a:custGeom>
                <a:avLst/>
                <a:gdLst>
                  <a:gd name="connsiteX0" fmla="*/ 9 w 25594"/>
                  <a:gd name="connsiteY0" fmla="*/ 10786 h 36220"/>
                  <a:gd name="connsiteX1" fmla="*/ 5378 w 25594"/>
                  <a:gd name="connsiteY1" fmla="*/ 32652 h 36220"/>
                  <a:gd name="connsiteX2" fmla="*/ 14805 w 25594"/>
                  <a:gd name="connsiteY2" fmla="*/ 36187 h 36220"/>
                  <a:gd name="connsiteX3" fmla="*/ 23315 w 25594"/>
                  <a:gd name="connsiteY3" fmla="*/ 31081 h 36220"/>
                  <a:gd name="connsiteX4" fmla="*/ 25017 w 25594"/>
                  <a:gd name="connsiteY4" fmla="*/ 17071 h 36220"/>
                  <a:gd name="connsiteX5" fmla="*/ 22137 w 25594"/>
                  <a:gd name="connsiteY5" fmla="*/ 8560 h 36220"/>
                  <a:gd name="connsiteX6" fmla="*/ 10222 w 25594"/>
                  <a:gd name="connsiteY6" fmla="*/ 50 h 36220"/>
                  <a:gd name="connsiteX7" fmla="*/ 9 w 25594"/>
                  <a:gd name="connsiteY7" fmla="*/ 10786 h 36220"/>
                  <a:gd name="connsiteX8" fmla="*/ 9 w 25594"/>
                  <a:gd name="connsiteY8" fmla="*/ 10786 h 36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594" h="36220">
                    <a:moveTo>
                      <a:pt x="9" y="10786"/>
                    </a:moveTo>
                    <a:cubicBezTo>
                      <a:pt x="271" y="17987"/>
                      <a:pt x="-514" y="27415"/>
                      <a:pt x="5378" y="32652"/>
                    </a:cubicBezTo>
                    <a:cubicBezTo>
                      <a:pt x="8127" y="35140"/>
                      <a:pt x="11008" y="36449"/>
                      <a:pt x="14805" y="36187"/>
                    </a:cubicBezTo>
                    <a:cubicBezTo>
                      <a:pt x="18078" y="35925"/>
                      <a:pt x="21744" y="34223"/>
                      <a:pt x="23315" y="31081"/>
                    </a:cubicBezTo>
                    <a:cubicBezTo>
                      <a:pt x="25541" y="26629"/>
                      <a:pt x="26196" y="22046"/>
                      <a:pt x="25017" y="17071"/>
                    </a:cubicBezTo>
                    <a:cubicBezTo>
                      <a:pt x="24363" y="14190"/>
                      <a:pt x="23053" y="11441"/>
                      <a:pt x="22137" y="8560"/>
                    </a:cubicBezTo>
                    <a:cubicBezTo>
                      <a:pt x="20304" y="3192"/>
                      <a:pt x="16114" y="-474"/>
                      <a:pt x="10222" y="50"/>
                    </a:cubicBezTo>
                    <a:cubicBezTo>
                      <a:pt x="4985" y="704"/>
                      <a:pt x="-252" y="5287"/>
                      <a:pt x="9" y="10786"/>
                    </a:cubicBezTo>
                    <a:lnTo>
                      <a:pt x="9" y="10786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图形 7"/>
            <p:cNvGrpSpPr/>
            <p:nvPr/>
          </p:nvGrpSpPr>
          <p:grpSpPr>
            <a:xfrm>
              <a:off x="6850436" y="-1726160"/>
              <a:ext cx="728809" cy="407062"/>
              <a:chOff x="6850436" y="-1726160"/>
              <a:chExt cx="728809" cy="407062"/>
            </a:xfrm>
            <a:solidFill>
              <a:srgbClr val="FFFFFF"/>
            </a:solidFill>
          </p:grpSpPr>
          <p:sp>
            <p:nvSpPr>
              <p:cNvPr id="63" name="iṥlíḑé"/>
              <p:cNvSpPr/>
              <p:nvPr/>
            </p:nvSpPr>
            <p:spPr>
              <a:xfrm>
                <a:off x="7223851" y="-1515226"/>
                <a:ext cx="39001" cy="21397"/>
              </a:xfrm>
              <a:custGeom>
                <a:avLst/>
                <a:gdLst>
                  <a:gd name="connsiteX0" fmla="*/ 8165 w 39001"/>
                  <a:gd name="connsiteY0" fmla="*/ 20949 h 21397"/>
                  <a:gd name="connsiteX1" fmla="*/ 19164 w 39001"/>
                  <a:gd name="connsiteY1" fmla="*/ 21342 h 21397"/>
                  <a:gd name="connsiteX2" fmla="*/ 31340 w 39001"/>
                  <a:gd name="connsiteY2" fmla="*/ 20426 h 21397"/>
                  <a:gd name="connsiteX3" fmla="*/ 29376 w 39001"/>
                  <a:gd name="connsiteY3" fmla="*/ 131 h 21397"/>
                  <a:gd name="connsiteX4" fmla="*/ 17200 w 39001"/>
                  <a:gd name="connsiteY4" fmla="*/ 1310 h 21397"/>
                  <a:gd name="connsiteX5" fmla="*/ 6463 w 39001"/>
                  <a:gd name="connsiteY5" fmla="*/ 3535 h 21397"/>
                  <a:gd name="connsiteX6" fmla="*/ 8165 w 39001"/>
                  <a:gd name="connsiteY6" fmla="*/ 20949 h 21397"/>
                  <a:gd name="connsiteX7" fmla="*/ 8165 w 39001"/>
                  <a:gd name="connsiteY7" fmla="*/ 20949 h 21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001" h="21397">
                    <a:moveTo>
                      <a:pt x="8165" y="20949"/>
                    </a:moveTo>
                    <a:cubicBezTo>
                      <a:pt x="11832" y="21342"/>
                      <a:pt x="15498" y="21473"/>
                      <a:pt x="19164" y="21342"/>
                    </a:cubicBezTo>
                    <a:cubicBezTo>
                      <a:pt x="23223" y="21342"/>
                      <a:pt x="27544" y="21735"/>
                      <a:pt x="31340" y="20426"/>
                    </a:cubicBezTo>
                    <a:cubicBezTo>
                      <a:pt x="42601" y="16760"/>
                      <a:pt x="41030" y="1702"/>
                      <a:pt x="29376" y="131"/>
                    </a:cubicBezTo>
                    <a:cubicBezTo>
                      <a:pt x="25449" y="-393"/>
                      <a:pt x="21128" y="786"/>
                      <a:pt x="17200" y="1310"/>
                    </a:cubicBezTo>
                    <a:cubicBezTo>
                      <a:pt x="13534" y="1833"/>
                      <a:pt x="9998" y="2488"/>
                      <a:pt x="6463" y="3535"/>
                    </a:cubicBezTo>
                    <a:cubicBezTo>
                      <a:pt x="-3095" y="6547"/>
                      <a:pt x="-1654" y="19771"/>
                      <a:pt x="8165" y="20949"/>
                    </a:cubicBezTo>
                    <a:lnTo>
                      <a:pt x="8165" y="2094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išliḑe"/>
              <p:cNvSpPr/>
              <p:nvPr/>
            </p:nvSpPr>
            <p:spPr>
              <a:xfrm>
                <a:off x="7308381" y="-1460181"/>
                <a:ext cx="28545" cy="21576"/>
              </a:xfrm>
              <a:custGeom>
                <a:avLst/>
                <a:gdLst>
                  <a:gd name="connsiteX0" fmla="*/ 3897 w 28545"/>
                  <a:gd name="connsiteY0" fmla="*/ 16313 h 21576"/>
                  <a:gd name="connsiteX1" fmla="*/ 17907 w 28545"/>
                  <a:gd name="connsiteY1" fmla="*/ 21551 h 21576"/>
                  <a:gd name="connsiteX2" fmla="*/ 28382 w 28545"/>
                  <a:gd name="connsiteY2" fmla="*/ 13040 h 21576"/>
                  <a:gd name="connsiteX3" fmla="*/ 21442 w 28545"/>
                  <a:gd name="connsiteY3" fmla="*/ 1387 h 21576"/>
                  <a:gd name="connsiteX4" fmla="*/ 6516 w 28545"/>
                  <a:gd name="connsiteY4" fmla="*/ 732 h 21576"/>
                  <a:gd name="connsiteX5" fmla="*/ 100 w 28545"/>
                  <a:gd name="connsiteY5" fmla="*/ 7672 h 21576"/>
                  <a:gd name="connsiteX6" fmla="*/ 3897 w 28545"/>
                  <a:gd name="connsiteY6" fmla="*/ 16313 h 21576"/>
                  <a:gd name="connsiteX7" fmla="*/ 3897 w 28545"/>
                  <a:gd name="connsiteY7" fmla="*/ 16313 h 21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545" h="21576">
                    <a:moveTo>
                      <a:pt x="3897" y="16313"/>
                    </a:moveTo>
                    <a:cubicBezTo>
                      <a:pt x="7432" y="19194"/>
                      <a:pt x="13324" y="21158"/>
                      <a:pt x="17907" y="21551"/>
                    </a:cubicBezTo>
                    <a:cubicBezTo>
                      <a:pt x="23013" y="21943"/>
                      <a:pt x="27596" y="17884"/>
                      <a:pt x="28382" y="13040"/>
                    </a:cubicBezTo>
                    <a:cubicBezTo>
                      <a:pt x="29298" y="7934"/>
                      <a:pt x="26287" y="3220"/>
                      <a:pt x="21442" y="1387"/>
                    </a:cubicBezTo>
                    <a:cubicBezTo>
                      <a:pt x="17121" y="-184"/>
                      <a:pt x="10967" y="-446"/>
                      <a:pt x="6516" y="732"/>
                    </a:cubicBezTo>
                    <a:cubicBezTo>
                      <a:pt x="3242" y="1649"/>
                      <a:pt x="624" y="4267"/>
                      <a:pt x="100" y="7672"/>
                    </a:cubicBezTo>
                    <a:cubicBezTo>
                      <a:pt x="-424" y="11207"/>
                      <a:pt x="1147" y="14087"/>
                      <a:pt x="3897" y="16313"/>
                    </a:cubicBezTo>
                    <a:lnTo>
                      <a:pt x="3897" y="1631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íŝḻiḓè"/>
              <p:cNvSpPr/>
              <p:nvPr/>
            </p:nvSpPr>
            <p:spPr>
              <a:xfrm>
                <a:off x="7326743" y="-1510425"/>
                <a:ext cx="33095" cy="19945"/>
              </a:xfrm>
              <a:custGeom>
                <a:avLst/>
                <a:gdLst>
                  <a:gd name="connsiteX0" fmla="*/ 7663 w 33095"/>
                  <a:gd name="connsiteY0" fmla="*/ 19814 h 19945"/>
                  <a:gd name="connsiteX1" fmla="*/ 15911 w 33095"/>
                  <a:gd name="connsiteY1" fmla="*/ 19945 h 19945"/>
                  <a:gd name="connsiteX2" fmla="*/ 25601 w 33095"/>
                  <a:gd name="connsiteY2" fmla="*/ 19160 h 19945"/>
                  <a:gd name="connsiteX3" fmla="*/ 33064 w 33095"/>
                  <a:gd name="connsiteY3" fmla="*/ 8816 h 19945"/>
                  <a:gd name="connsiteX4" fmla="*/ 23898 w 33095"/>
                  <a:gd name="connsiteY4" fmla="*/ 43 h 19945"/>
                  <a:gd name="connsiteX5" fmla="*/ 6222 w 33095"/>
                  <a:gd name="connsiteY5" fmla="*/ 3710 h 19945"/>
                  <a:gd name="connsiteX6" fmla="*/ 7663 w 33095"/>
                  <a:gd name="connsiteY6" fmla="*/ 19814 h 19945"/>
                  <a:gd name="connsiteX7" fmla="*/ 7663 w 33095"/>
                  <a:gd name="connsiteY7" fmla="*/ 19814 h 19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095" h="19945">
                    <a:moveTo>
                      <a:pt x="7663" y="19814"/>
                    </a:moveTo>
                    <a:cubicBezTo>
                      <a:pt x="10412" y="19945"/>
                      <a:pt x="13162" y="19945"/>
                      <a:pt x="15911" y="19945"/>
                    </a:cubicBezTo>
                    <a:cubicBezTo>
                      <a:pt x="19054" y="19814"/>
                      <a:pt x="22589" y="20076"/>
                      <a:pt x="25601" y="19160"/>
                    </a:cubicBezTo>
                    <a:cubicBezTo>
                      <a:pt x="30183" y="17588"/>
                      <a:pt x="33457" y="13922"/>
                      <a:pt x="33064" y="8816"/>
                    </a:cubicBezTo>
                    <a:cubicBezTo>
                      <a:pt x="32671" y="3971"/>
                      <a:pt x="28743" y="305"/>
                      <a:pt x="23898" y="43"/>
                    </a:cubicBezTo>
                    <a:cubicBezTo>
                      <a:pt x="18268" y="-349"/>
                      <a:pt x="11591" y="2007"/>
                      <a:pt x="6222" y="3710"/>
                    </a:cubicBezTo>
                    <a:cubicBezTo>
                      <a:pt x="-2550" y="6066"/>
                      <a:pt x="-2026" y="19290"/>
                      <a:pt x="7663" y="19814"/>
                    </a:cubicBezTo>
                    <a:lnTo>
                      <a:pt x="7663" y="19814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isľïḋè"/>
              <p:cNvSpPr/>
              <p:nvPr/>
            </p:nvSpPr>
            <p:spPr>
              <a:xfrm>
                <a:off x="7226529" y="-1597367"/>
                <a:ext cx="25920" cy="20216"/>
              </a:xfrm>
              <a:custGeom>
                <a:avLst/>
                <a:gdLst>
                  <a:gd name="connsiteX0" fmla="*/ 3000 w 25920"/>
                  <a:gd name="connsiteY0" fmla="*/ 15365 h 20216"/>
                  <a:gd name="connsiteX1" fmla="*/ 12820 w 25920"/>
                  <a:gd name="connsiteY1" fmla="*/ 19686 h 20216"/>
                  <a:gd name="connsiteX2" fmla="*/ 25913 w 25920"/>
                  <a:gd name="connsiteY2" fmla="*/ 10520 h 20216"/>
                  <a:gd name="connsiteX3" fmla="*/ 13605 w 25920"/>
                  <a:gd name="connsiteY3" fmla="*/ 308 h 20216"/>
                  <a:gd name="connsiteX4" fmla="*/ 3393 w 25920"/>
                  <a:gd name="connsiteY4" fmla="*/ 3712 h 20216"/>
                  <a:gd name="connsiteX5" fmla="*/ 3000 w 25920"/>
                  <a:gd name="connsiteY5" fmla="*/ 15365 h 20216"/>
                  <a:gd name="connsiteX6" fmla="*/ 3000 w 25920"/>
                  <a:gd name="connsiteY6" fmla="*/ 15365 h 20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920" h="20216">
                    <a:moveTo>
                      <a:pt x="3000" y="15365"/>
                    </a:moveTo>
                    <a:cubicBezTo>
                      <a:pt x="6142" y="17198"/>
                      <a:pt x="9415" y="18376"/>
                      <a:pt x="12820" y="19686"/>
                    </a:cubicBezTo>
                    <a:cubicBezTo>
                      <a:pt x="18974" y="21912"/>
                      <a:pt x="25651" y="16805"/>
                      <a:pt x="25913" y="10520"/>
                    </a:cubicBezTo>
                    <a:cubicBezTo>
                      <a:pt x="26175" y="4236"/>
                      <a:pt x="19890" y="-1394"/>
                      <a:pt x="13605" y="308"/>
                    </a:cubicBezTo>
                    <a:cubicBezTo>
                      <a:pt x="10070" y="1224"/>
                      <a:pt x="6666" y="2141"/>
                      <a:pt x="3393" y="3712"/>
                    </a:cubicBezTo>
                    <a:cubicBezTo>
                      <a:pt x="-928" y="6069"/>
                      <a:pt x="-1190" y="12877"/>
                      <a:pt x="3000" y="15365"/>
                    </a:cubicBezTo>
                    <a:lnTo>
                      <a:pt x="3000" y="15365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ïŝḷïďé"/>
              <p:cNvSpPr/>
              <p:nvPr/>
            </p:nvSpPr>
            <p:spPr>
              <a:xfrm>
                <a:off x="7114103" y="-1561908"/>
                <a:ext cx="25677" cy="24339"/>
              </a:xfrm>
              <a:custGeom>
                <a:avLst/>
                <a:gdLst>
                  <a:gd name="connsiteX0" fmla="*/ 206 w 25677"/>
                  <a:gd name="connsiteY0" fmla="*/ 6486 h 24339"/>
                  <a:gd name="connsiteX1" fmla="*/ 991 w 25677"/>
                  <a:gd name="connsiteY1" fmla="*/ 10152 h 24339"/>
                  <a:gd name="connsiteX2" fmla="*/ 4264 w 25677"/>
                  <a:gd name="connsiteY2" fmla="*/ 16044 h 24339"/>
                  <a:gd name="connsiteX3" fmla="*/ 13299 w 25677"/>
                  <a:gd name="connsiteY3" fmla="*/ 23769 h 24339"/>
                  <a:gd name="connsiteX4" fmla="*/ 24559 w 25677"/>
                  <a:gd name="connsiteY4" fmla="*/ 10283 h 24339"/>
                  <a:gd name="connsiteX5" fmla="*/ 15524 w 25677"/>
                  <a:gd name="connsiteY5" fmla="*/ 2558 h 24339"/>
                  <a:gd name="connsiteX6" fmla="*/ 9502 w 25677"/>
                  <a:gd name="connsiteY6" fmla="*/ 332 h 24339"/>
                  <a:gd name="connsiteX7" fmla="*/ 6883 w 25677"/>
                  <a:gd name="connsiteY7" fmla="*/ 332 h 24339"/>
                  <a:gd name="connsiteX8" fmla="*/ 5443 w 25677"/>
                  <a:gd name="connsiteY8" fmla="*/ 70 h 24339"/>
                  <a:gd name="connsiteX9" fmla="*/ 206 w 25677"/>
                  <a:gd name="connsiteY9" fmla="*/ 6486 h 24339"/>
                  <a:gd name="connsiteX10" fmla="*/ 206 w 25677"/>
                  <a:gd name="connsiteY10" fmla="*/ 6486 h 24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677" h="24339">
                    <a:moveTo>
                      <a:pt x="206" y="6486"/>
                    </a:moveTo>
                    <a:cubicBezTo>
                      <a:pt x="467" y="7533"/>
                      <a:pt x="598" y="8581"/>
                      <a:pt x="991" y="10152"/>
                    </a:cubicBezTo>
                    <a:cubicBezTo>
                      <a:pt x="1646" y="12509"/>
                      <a:pt x="2824" y="14080"/>
                      <a:pt x="4264" y="16044"/>
                    </a:cubicBezTo>
                    <a:cubicBezTo>
                      <a:pt x="6883" y="19448"/>
                      <a:pt x="9240" y="22067"/>
                      <a:pt x="13299" y="23769"/>
                    </a:cubicBezTo>
                    <a:cubicBezTo>
                      <a:pt x="20893" y="26780"/>
                      <a:pt x="28618" y="17222"/>
                      <a:pt x="24559" y="10283"/>
                    </a:cubicBezTo>
                    <a:cubicBezTo>
                      <a:pt x="22333" y="6486"/>
                      <a:pt x="19322" y="4522"/>
                      <a:pt x="15524" y="2558"/>
                    </a:cubicBezTo>
                    <a:cubicBezTo>
                      <a:pt x="13561" y="1511"/>
                      <a:pt x="11727" y="725"/>
                      <a:pt x="9502" y="332"/>
                    </a:cubicBezTo>
                    <a:cubicBezTo>
                      <a:pt x="8585" y="201"/>
                      <a:pt x="7799" y="332"/>
                      <a:pt x="6883" y="332"/>
                    </a:cubicBezTo>
                    <a:cubicBezTo>
                      <a:pt x="4264" y="332"/>
                      <a:pt x="7799" y="463"/>
                      <a:pt x="5443" y="70"/>
                    </a:cubicBezTo>
                    <a:cubicBezTo>
                      <a:pt x="2300" y="-584"/>
                      <a:pt x="-842" y="3474"/>
                      <a:pt x="206" y="6486"/>
                    </a:cubicBezTo>
                    <a:lnTo>
                      <a:pt x="206" y="6486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îSḷîďè"/>
              <p:cNvSpPr/>
              <p:nvPr/>
            </p:nvSpPr>
            <p:spPr>
              <a:xfrm>
                <a:off x="7110589" y="-1442075"/>
                <a:ext cx="26098" cy="29415"/>
              </a:xfrm>
              <a:custGeom>
                <a:avLst/>
                <a:gdLst>
                  <a:gd name="connsiteX0" fmla="*/ 970 w 26098"/>
                  <a:gd name="connsiteY0" fmla="*/ 13002 h 29415"/>
                  <a:gd name="connsiteX1" fmla="*/ 10659 w 26098"/>
                  <a:gd name="connsiteY1" fmla="*/ 27798 h 29415"/>
                  <a:gd name="connsiteX2" fmla="*/ 25847 w 26098"/>
                  <a:gd name="connsiteY2" fmla="*/ 17061 h 29415"/>
                  <a:gd name="connsiteX3" fmla="*/ 15372 w 26098"/>
                  <a:gd name="connsiteY3" fmla="*/ 2790 h 29415"/>
                  <a:gd name="connsiteX4" fmla="*/ 3850 w 26098"/>
                  <a:gd name="connsiteY4" fmla="*/ 1611 h 29415"/>
                  <a:gd name="connsiteX5" fmla="*/ 970 w 26098"/>
                  <a:gd name="connsiteY5" fmla="*/ 13002 h 29415"/>
                  <a:gd name="connsiteX6" fmla="*/ 970 w 26098"/>
                  <a:gd name="connsiteY6" fmla="*/ 13002 h 29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098" h="29415">
                    <a:moveTo>
                      <a:pt x="970" y="13002"/>
                    </a:moveTo>
                    <a:cubicBezTo>
                      <a:pt x="3589" y="18240"/>
                      <a:pt x="5684" y="24394"/>
                      <a:pt x="10659" y="27798"/>
                    </a:cubicBezTo>
                    <a:cubicBezTo>
                      <a:pt x="17860" y="32773"/>
                      <a:pt x="27811" y="25441"/>
                      <a:pt x="25847" y="17061"/>
                    </a:cubicBezTo>
                    <a:cubicBezTo>
                      <a:pt x="24407" y="11300"/>
                      <a:pt x="19300" y="6980"/>
                      <a:pt x="15372" y="2790"/>
                    </a:cubicBezTo>
                    <a:cubicBezTo>
                      <a:pt x="12361" y="-484"/>
                      <a:pt x="7386" y="-876"/>
                      <a:pt x="3850" y="1611"/>
                    </a:cubicBezTo>
                    <a:cubicBezTo>
                      <a:pt x="54" y="4230"/>
                      <a:pt x="-994" y="8944"/>
                      <a:pt x="970" y="13002"/>
                    </a:cubicBezTo>
                    <a:lnTo>
                      <a:pt x="970" y="13002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îṥḷïde"/>
              <p:cNvSpPr/>
              <p:nvPr/>
            </p:nvSpPr>
            <p:spPr>
              <a:xfrm>
                <a:off x="7192299" y="-1455501"/>
                <a:ext cx="25080" cy="25151"/>
              </a:xfrm>
              <a:custGeom>
                <a:avLst/>
                <a:gdLst>
                  <a:gd name="connsiteX0" fmla="*/ 9210 w 25080"/>
                  <a:gd name="connsiteY0" fmla="*/ 19751 h 25151"/>
                  <a:gd name="connsiteX1" fmla="*/ 6329 w 25080"/>
                  <a:gd name="connsiteY1" fmla="*/ 18572 h 25151"/>
                  <a:gd name="connsiteX2" fmla="*/ 5151 w 25080"/>
                  <a:gd name="connsiteY2" fmla="*/ 17525 h 25151"/>
                  <a:gd name="connsiteX3" fmla="*/ 5151 w 25080"/>
                  <a:gd name="connsiteY3" fmla="*/ 17263 h 25151"/>
                  <a:gd name="connsiteX4" fmla="*/ 4365 w 25080"/>
                  <a:gd name="connsiteY4" fmla="*/ 15823 h 25151"/>
                  <a:gd name="connsiteX5" fmla="*/ 4104 w 25080"/>
                  <a:gd name="connsiteY5" fmla="*/ 15299 h 25151"/>
                  <a:gd name="connsiteX6" fmla="*/ 3973 w 25080"/>
                  <a:gd name="connsiteY6" fmla="*/ 14383 h 25151"/>
                  <a:gd name="connsiteX7" fmla="*/ 12614 w 25080"/>
                  <a:gd name="connsiteY7" fmla="*/ 24988 h 25151"/>
                  <a:gd name="connsiteX8" fmla="*/ 24398 w 25080"/>
                  <a:gd name="connsiteY8" fmla="*/ 17918 h 25151"/>
                  <a:gd name="connsiteX9" fmla="*/ 5020 w 25080"/>
                  <a:gd name="connsiteY9" fmla="*/ 1682 h 25151"/>
                  <a:gd name="connsiteX10" fmla="*/ 307 w 25080"/>
                  <a:gd name="connsiteY10" fmla="*/ 12157 h 25151"/>
                  <a:gd name="connsiteX11" fmla="*/ 9210 w 25080"/>
                  <a:gd name="connsiteY11" fmla="*/ 19751 h 25151"/>
                  <a:gd name="connsiteX12" fmla="*/ 9210 w 25080"/>
                  <a:gd name="connsiteY12" fmla="*/ 19751 h 25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080" h="25151">
                    <a:moveTo>
                      <a:pt x="9210" y="19751"/>
                    </a:moveTo>
                    <a:cubicBezTo>
                      <a:pt x="11043" y="19620"/>
                      <a:pt x="6329" y="18703"/>
                      <a:pt x="6329" y="18572"/>
                    </a:cubicBezTo>
                    <a:cubicBezTo>
                      <a:pt x="5937" y="18180"/>
                      <a:pt x="5544" y="17918"/>
                      <a:pt x="5151" y="17525"/>
                    </a:cubicBezTo>
                    <a:cubicBezTo>
                      <a:pt x="5675" y="18049"/>
                      <a:pt x="5675" y="18049"/>
                      <a:pt x="5151" y="17263"/>
                    </a:cubicBezTo>
                    <a:cubicBezTo>
                      <a:pt x="4758" y="16870"/>
                      <a:pt x="4496" y="16346"/>
                      <a:pt x="4365" y="15823"/>
                    </a:cubicBezTo>
                    <a:cubicBezTo>
                      <a:pt x="4104" y="14906"/>
                      <a:pt x="3973" y="14775"/>
                      <a:pt x="4104" y="15299"/>
                    </a:cubicBezTo>
                    <a:cubicBezTo>
                      <a:pt x="4496" y="15954"/>
                      <a:pt x="3711" y="17918"/>
                      <a:pt x="3973" y="14383"/>
                    </a:cubicBezTo>
                    <a:cubicBezTo>
                      <a:pt x="3580" y="19620"/>
                      <a:pt x="7639" y="24202"/>
                      <a:pt x="12614" y="24988"/>
                    </a:cubicBezTo>
                    <a:cubicBezTo>
                      <a:pt x="17721" y="25905"/>
                      <a:pt x="22696" y="22893"/>
                      <a:pt x="24398" y="17918"/>
                    </a:cubicBezTo>
                    <a:cubicBezTo>
                      <a:pt x="28195" y="6919"/>
                      <a:pt x="15364" y="-4341"/>
                      <a:pt x="5020" y="1682"/>
                    </a:cubicBezTo>
                    <a:cubicBezTo>
                      <a:pt x="1485" y="3777"/>
                      <a:pt x="-872" y="8098"/>
                      <a:pt x="307" y="12157"/>
                    </a:cubicBezTo>
                    <a:cubicBezTo>
                      <a:pt x="1354" y="16085"/>
                      <a:pt x="5020" y="20013"/>
                      <a:pt x="9210" y="19751"/>
                    </a:cubicBezTo>
                    <a:lnTo>
                      <a:pt x="9210" y="19751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îš1îďè"/>
              <p:cNvSpPr/>
              <p:nvPr/>
            </p:nvSpPr>
            <p:spPr>
              <a:xfrm>
                <a:off x="7044006" y="-1494032"/>
                <a:ext cx="27225" cy="19406"/>
              </a:xfrm>
              <a:custGeom>
                <a:avLst/>
                <a:gdLst>
                  <a:gd name="connsiteX0" fmla="*/ 5622 w 27225"/>
                  <a:gd name="connsiteY0" fmla="*/ 17300 h 19406"/>
                  <a:gd name="connsiteX1" fmla="*/ 17144 w 27225"/>
                  <a:gd name="connsiteY1" fmla="*/ 19395 h 19406"/>
                  <a:gd name="connsiteX2" fmla="*/ 27226 w 27225"/>
                  <a:gd name="connsiteY2" fmla="*/ 10099 h 19406"/>
                  <a:gd name="connsiteX3" fmla="*/ 17930 w 27225"/>
                  <a:gd name="connsiteY3" fmla="*/ 17 h 19406"/>
                  <a:gd name="connsiteX4" fmla="*/ 6276 w 27225"/>
                  <a:gd name="connsiteY4" fmla="*/ 1195 h 19406"/>
                  <a:gd name="connsiteX5" fmla="*/ 5622 w 27225"/>
                  <a:gd name="connsiteY5" fmla="*/ 17300 h 19406"/>
                  <a:gd name="connsiteX6" fmla="*/ 5622 w 27225"/>
                  <a:gd name="connsiteY6" fmla="*/ 17300 h 19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225" h="19406">
                    <a:moveTo>
                      <a:pt x="5622" y="17300"/>
                    </a:moveTo>
                    <a:cubicBezTo>
                      <a:pt x="9419" y="18216"/>
                      <a:pt x="13085" y="19264"/>
                      <a:pt x="17144" y="19395"/>
                    </a:cubicBezTo>
                    <a:cubicBezTo>
                      <a:pt x="22250" y="19657"/>
                      <a:pt x="27226" y="15336"/>
                      <a:pt x="27226" y="10099"/>
                    </a:cubicBezTo>
                    <a:cubicBezTo>
                      <a:pt x="27226" y="4861"/>
                      <a:pt x="23298" y="148"/>
                      <a:pt x="17930" y="17"/>
                    </a:cubicBezTo>
                    <a:cubicBezTo>
                      <a:pt x="14001" y="-114"/>
                      <a:pt x="10204" y="541"/>
                      <a:pt x="6276" y="1195"/>
                    </a:cubicBezTo>
                    <a:cubicBezTo>
                      <a:pt x="-1710" y="2505"/>
                      <a:pt x="-2234" y="15336"/>
                      <a:pt x="5622" y="17300"/>
                    </a:cubicBezTo>
                    <a:lnTo>
                      <a:pt x="5622" y="17300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iŝļïḋê"/>
              <p:cNvSpPr/>
              <p:nvPr/>
            </p:nvSpPr>
            <p:spPr>
              <a:xfrm>
                <a:off x="7028866" y="-1610947"/>
                <a:ext cx="20049" cy="20706"/>
              </a:xfrm>
              <a:custGeom>
                <a:avLst/>
                <a:gdLst>
                  <a:gd name="connsiteX0" fmla="*/ 9632 w 20049"/>
                  <a:gd name="connsiteY0" fmla="*/ 20697 h 20706"/>
                  <a:gd name="connsiteX1" fmla="*/ 10418 w 20049"/>
                  <a:gd name="connsiteY1" fmla="*/ 10 h 20706"/>
                  <a:gd name="connsiteX2" fmla="*/ 9632 w 20049"/>
                  <a:gd name="connsiteY2" fmla="*/ 20697 h 20706"/>
                  <a:gd name="connsiteX3" fmla="*/ 9632 w 20049"/>
                  <a:gd name="connsiteY3" fmla="*/ 20697 h 20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049" h="20706">
                    <a:moveTo>
                      <a:pt x="9632" y="20697"/>
                    </a:moveTo>
                    <a:cubicBezTo>
                      <a:pt x="22987" y="21221"/>
                      <a:pt x="23773" y="533"/>
                      <a:pt x="10418" y="10"/>
                    </a:cubicBezTo>
                    <a:cubicBezTo>
                      <a:pt x="-2937" y="-514"/>
                      <a:pt x="-3723" y="20173"/>
                      <a:pt x="9632" y="20697"/>
                    </a:cubicBezTo>
                    <a:lnTo>
                      <a:pt x="9632" y="20697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îslïḍê"/>
              <p:cNvSpPr/>
              <p:nvPr/>
            </p:nvSpPr>
            <p:spPr>
              <a:xfrm>
                <a:off x="7139027" y="-1654420"/>
                <a:ext cx="23540" cy="24379"/>
              </a:xfrm>
              <a:custGeom>
                <a:avLst/>
                <a:gdLst>
                  <a:gd name="connsiteX0" fmla="*/ 11288 w 23540"/>
                  <a:gd name="connsiteY0" fmla="*/ 24366 h 24379"/>
                  <a:gd name="connsiteX1" fmla="*/ 12205 w 23540"/>
                  <a:gd name="connsiteY1" fmla="*/ 13 h 24379"/>
                  <a:gd name="connsiteX2" fmla="*/ 11288 w 23540"/>
                  <a:gd name="connsiteY2" fmla="*/ 24366 h 24379"/>
                  <a:gd name="connsiteX3" fmla="*/ 11288 w 23540"/>
                  <a:gd name="connsiteY3" fmla="*/ 24366 h 24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540" h="24379">
                    <a:moveTo>
                      <a:pt x="11288" y="24366"/>
                    </a:moveTo>
                    <a:cubicBezTo>
                      <a:pt x="27000" y="25021"/>
                      <a:pt x="27917" y="668"/>
                      <a:pt x="12205" y="13"/>
                    </a:cubicBezTo>
                    <a:cubicBezTo>
                      <a:pt x="-3376" y="-642"/>
                      <a:pt x="-4424" y="23712"/>
                      <a:pt x="11288" y="24366"/>
                    </a:cubicBezTo>
                    <a:lnTo>
                      <a:pt x="11288" y="24366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ï$ḻîḑé"/>
              <p:cNvSpPr/>
              <p:nvPr/>
            </p:nvSpPr>
            <p:spPr>
              <a:xfrm>
                <a:off x="7371365" y="-1592214"/>
                <a:ext cx="30141" cy="18694"/>
              </a:xfrm>
              <a:custGeom>
                <a:avLst/>
                <a:gdLst>
                  <a:gd name="connsiteX0" fmla="*/ 5463 w 30141"/>
                  <a:gd name="connsiteY0" fmla="*/ 16105 h 18694"/>
                  <a:gd name="connsiteX1" fmla="*/ 24710 w 30141"/>
                  <a:gd name="connsiteY1" fmla="*/ 18069 h 18694"/>
                  <a:gd name="connsiteX2" fmla="*/ 26936 w 30141"/>
                  <a:gd name="connsiteY2" fmla="*/ 4975 h 18694"/>
                  <a:gd name="connsiteX3" fmla="*/ 8343 w 30141"/>
                  <a:gd name="connsiteY3" fmla="*/ 0 h 18694"/>
                  <a:gd name="connsiteX4" fmla="*/ 5463 w 30141"/>
                  <a:gd name="connsiteY4" fmla="*/ 16105 h 18694"/>
                  <a:gd name="connsiteX5" fmla="*/ 5463 w 30141"/>
                  <a:gd name="connsiteY5" fmla="*/ 16105 h 18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141" h="18694">
                    <a:moveTo>
                      <a:pt x="5463" y="16105"/>
                    </a:moveTo>
                    <a:cubicBezTo>
                      <a:pt x="11878" y="18592"/>
                      <a:pt x="17902" y="19378"/>
                      <a:pt x="24710" y="18069"/>
                    </a:cubicBezTo>
                    <a:cubicBezTo>
                      <a:pt x="30864" y="16890"/>
                      <a:pt x="32042" y="8249"/>
                      <a:pt x="26936" y="4975"/>
                    </a:cubicBezTo>
                    <a:cubicBezTo>
                      <a:pt x="21044" y="1309"/>
                      <a:pt x="15152" y="0"/>
                      <a:pt x="8343" y="0"/>
                    </a:cubicBezTo>
                    <a:cubicBezTo>
                      <a:pt x="-1084" y="131"/>
                      <a:pt x="-3179" y="12831"/>
                      <a:pt x="5463" y="16105"/>
                    </a:cubicBezTo>
                    <a:lnTo>
                      <a:pt x="5463" y="16105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íṥḷíḑè"/>
              <p:cNvSpPr/>
              <p:nvPr/>
            </p:nvSpPr>
            <p:spPr>
              <a:xfrm>
                <a:off x="7429081" y="-1441474"/>
                <a:ext cx="23931" cy="21830"/>
              </a:xfrm>
              <a:custGeom>
                <a:avLst/>
                <a:gdLst>
                  <a:gd name="connsiteX0" fmla="*/ 2084 w 23931"/>
                  <a:gd name="connsiteY0" fmla="*/ 13710 h 21830"/>
                  <a:gd name="connsiteX1" fmla="*/ 15308 w 23931"/>
                  <a:gd name="connsiteY1" fmla="*/ 21828 h 21830"/>
                  <a:gd name="connsiteX2" fmla="*/ 23557 w 23931"/>
                  <a:gd name="connsiteY2" fmla="*/ 11746 h 21830"/>
                  <a:gd name="connsiteX3" fmla="*/ 17665 w 23931"/>
                  <a:gd name="connsiteY3" fmla="*/ 3497 h 21830"/>
                  <a:gd name="connsiteX4" fmla="*/ 10594 w 23931"/>
                  <a:gd name="connsiteY4" fmla="*/ 355 h 21830"/>
                  <a:gd name="connsiteX5" fmla="*/ 1167 w 23931"/>
                  <a:gd name="connsiteY5" fmla="*/ 3759 h 21830"/>
                  <a:gd name="connsiteX6" fmla="*/ 2084 w 23931"/>
                  <a:gd name="connsiteY6" fmla="*/ 13710 h 21830"/>
                  <a:gd name="connsiteX7" fmla="*/ 2084 w 23931"/>
                  <a:gd name="connsiteY7" fmla="*/ 13710 h 21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1" h="21830">
                    <a:moveTo>
                      <a:pt x="2084" y="13710"/>
                    </a:moveTo>
                    <a:cubicBezTo>
                      <a:pt x="5488" y="18293"/>
                      <a:pt x="9285" y="21697"/>
                      <a:pt x="15308" y="21828"/>
                    </a:cubicBezTo>
                    <a:cubicBezTo>
                      <a:pt x="20153" y="21959"/>
                      <a:pt x="25390" y="16984"/>
                      <a:pt x="23557" y="11746"/>
                    </a:cubicBezTo>
                    <a:cubicBezTo>
                      <a:pt x="22248" y="8080"/>
                      <a:pt x="20938" y="5723"/>
                      <a:pt x="17665" y="3497"/>
                    </a:cubicBezTo>
                    <a:cubicBezTo>
                      <a:pt x="15439" y="2057"/>
                      <a:pt x="13082" y="1272"/>
                      <a:pt x="10594" y="355"/>
                    </a:cubicBezTo>
                    <a:cubicBezTo>
                      <a:pt x="7321" y="-692"/>
                      <a:pt x="3000" y="617"/>
                      <a:pt x="1167" y="3759"/>
                    </a:cubicBezTo>
                    <a:cubicBezTo>
                      <a:pt x="-797" y="7164"/>
                      <a:pt x="-142" y="10699"/>
                      <a:pt x="2084" y="13710"/>
                    </a:cubicBezTo>
                    <a:lnTo>
                      <a:pt x="2084" y="13710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îsḻíḍè"/>
              <p:cNvSpPr/>
              <p:nvPr/>
            </p:nvSpPr>
            <p:spPr>
              <a:xfrm>
                <a:off x="7372706" y="-1370270"/>
                <a:ext cx="26766" cy="22910"/>
              </a:xfrm>
              <a:custGeom>
                <a:avLst/>
                <a:gdLst>
                  <a:gd name="connsiteX0" fmla="*/ 5431 w 26766"/>
                  <a:gd name="connsiteY0" fmla="*/ 16876 h 22910"/>
                  <a:gd name="connsiteX1" fmla="*/ 6740 w 26766"/>
                  <a:gd name="connsiteY1" fmla="*/ 17269 h 22910"/>
                  <a:gd name="connsiteX2" fmla="*/ 8180 w 26766"/>
                  <a:gd name="connsiteY2" fmla="*/ 17531 h 22910"/>
                  <a:gd name="connsiteX3" fmla="*/ 8704 w 26766"/>
                  <a:gd name="connsiteY3" fmla="*/ 17662 h 22910"/>
                  <a:gd name="connsiteX4" fmla="*/ 9228 w 26766"/>
                  <a:gd name="connsiteY4" fmla="*/ 17924 h 22910"/>
                  <a:gd name="connsiteX5" fmla="*/ 8049 w 26766"/>
                  <a:gd name="connsiteY5" fmla="*/ 17400 h 22910"/>
                  <a:gd name="connsiteX6" fmla="*/ 8049 w 26766"/>
                  <a:gd name="connsiteY6" fmla="*/ 17269 h 22910"/>
                  <a:gd name="connsiteX7" fmla="*/ 8180 w 26766"/>
                  <a:gd name="connsiteY7" fmla="*/ 17531 h 22910"/>
                  <a:gd name="connsiteX8" fmla="*/ 10668 w 26766"/>
                  <a:gd name="connsiteY8" fmla="*/ 19888 h 22910"/>
                  <a:gd name="connsiteX9" fmla="*/ 10014 w 26766"/>
                  <a:gd name="connsiteY9" fmla="*/ 19495 h 22910"/>
                  <a:gd name="connsiteX10" fmla="*/ 14596 w 26766"/>
                  <a:gd name="connsiteY10" fmla="*/ 22375 h 22910"/>
                  <a:gd name="connsiteX11" fmla="*/ 22714 w 26766"/>
                  <a:gd name="connsiteY11" fmla="*/ 21066 h 22910"/>
                  <a:gd name="connsiteX12" fmla="*/ 26642 w 26766"/>
                  <a:gd name="connsiteY12" fmla="*/ 13996 h 22910"/>
                  <a:gd name="connsiteX13" fmla="*/ 16429 w 26766"/>
                  <a:gd name="connsiteY13" fmla="*/ 772 h 22910"/>
                  <a:gd name="connsiteX14" fmla="*/ 2288 w 26766"/>
                  <a:gd name="connsiteY14" fmla="*/ 3521 h 22910"/>
                  <a:gd name="connsiteX15" fmla="*/ 5431 w 26766"/>
                  <a:gd name="connsiteY15" fmla="*/ 16876 h 22910"/>
                  <a:gd name="connsiteX16" fmla="*/ 5431 w 26766"/>
                  <a:gd name="connsiteY16" fmla="*/ 16876 h 22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766" h="22910">
                    <a:moveTo>
                      <a:pt x="5431" y="16876"/>
                    </a:moveTo>
                    <a:cubicBezTo>
                      <a:pt x="5824" y="17007"/>
                      <a:pt x="6216" y="17138"/>
                      <a:pt x="6740" y="17269"/>
                    </a:cubicBezTo>
                    <a:cubicBezTo>
                      <a:pt x="7264" y="17400"/>
                      <a:pt x="7656" y="17531"/>
                      <a:pt x="8180" y="17531"/>
                    </a:cubicBezTo>
                    <a:cubicBezTo>
                      <a:pt x="9490" y="17793"/>
                      <a:pt x="9751" y="17793"/>
                      <a:pt x="8704" y="17662"/>
                    </a:cubicBezTo>
                    <a:cubicBezTo>
                      <a:pt x="7264" y="16745"/>
                      <a:pt x="9097" y="18186"/>
                      <a:pt x="9228" y="17924"/>
                    </a:cubicBezTo>
                    <a:cubicBezTo>
                      <a:pt x="8835" y="17793"/>
                      <a:pt x="8442" y="17662"/>
                      <a:pt x="8049" y="17400"/>
                    </a:cubicBezTo>
                    <a:cubicBezTo>
                      <a:pt x="8704" y="17924"/>
                      <a:pt x="8704" y="17793"/>
                      <a:pt x="8049" y="17269"/>
                    </a:cubicBezTo>
                    <a:cubicBezTo>
                      <a:pt x="7656" y="16353"/>
                      <a:pt x="7788" y="17007"/>
                      <a:pt x="8180" y="17531"/>
                    </a:cubicBezTo>
                    <a:cubicBezTo>
                      <a:pt x="8966" y="18448"/>
                      <a:pt x="9751" y="19233"/>
                      <a:pt x="10668" y="19888"/>
                    </a:cubicBezTo>
                    <a:cubicBezTo>
                      <a:pt x="10275" y="19626"/>
                      <a:pt x="9097" y="18448"/>
                      <a:pt x="10014" y="19495"/>
                    </a:cubicBezTo>
                    <a:cubicBezTo>
                      <a:pt x="11454" y="20935"/>
                      <a:pt x="12763" y="21459"/>
                      <a:pt x="14596" y="22375"/>
                    </a:cubicBezTo>
                    <a:cubicBezTo>
                      <a:pt x="17215" y="23554"/>
                      <a:pt x="20619" y="22637"/>
                      <a:pt x="22714" y="21066"/>
                    </a:cubicBezTo>
                    <a:cubicBezTo>
                      <a:pt x="25332" y="19233"/>
                      <a:pt x="26118" y="17007"/>
                      <a:pt x="26642" y="13996"/>
                    </a:cubicBezTo>
                    <a:cubicBezTo>
                      <a:pt x="27689" y="7842"/>
                      <a:pt x="21928" y="2474"/>
                      <a:pt x="16429" y="772"/>
                    </a:cubicBezTo>
                    <a:cubicBezTo>
                      <a:pt x="11585" y="-669"/>
                      <a:pt x="5954" y="-276"/>
                      <a:pt x="2288" y="3521"/>
                    </a:cubicBezTo>
                    <a:cubicBezTo>
                      <a:pt x="-1378" y="7318"/>
                      <a:pt x="-854" y="15305"/>
                      <a:pt x="5431" y="16876"/>
                    </a:cubicBezTo>
                    <a:lnTo>
                      <a:pt x="5431" y="16876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isḷíḓe"/>
              <p:cNvSpPr/>
              <p:nvPr/>
            </p:nvSpPr>
            <p:spPr>
              <a:xfrm>
                <a:off x="7235806" y="-1399548"/>
                <a:ext cx="21195" cy="19689"/>
              </a:xfrm>
              <a:custGeom>
                <a:avLst/>
                <a:gdLst>
                  <a:gd name="connsiteX0" fmla="*/ 12185 w 21195"/>
                  <a:gd name="connsiteY0" fmla="*/ 19444 h 19689"/>
                  <a:gd name="connsiteX1" fmla="*/ 18469 w 21195"/>
                  <a:gd name="connsiteY1" fmla="*/ 16433 h 19689"/>
                  <a:gd name="connsiteX2" fmla="*/ 18993 w 21195"/>
                  <a:gd name="connsiteY2" fmla="*/ 3994 h 19689"/>
                  <a:gd name="connsiteX3" fmla="*/ 12970 w 21195"/>
                  <a:gd name="connsiteY3" fmla="*/ 459 h 19689"/>
                  <a:gd name="connsiteX4" fmla="*/ 8 w 21195"/>
                  <a:gd name="connsiteY4" fmla="*/ 9494 h 19689"/>
                  <a:gd name="connsiteX5" fmla="*/ 12185 w 21195"/>
                  <a:gd name="connsiteY5" fmla="*/ 19444 h 19689"/>
                  <a:gd name="connsiteX6" fmla="*/ 12185 w 21195"/>
                  <a:gd name="connsiteY6" fmla="*/ 19444 h 19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195" h="19689">
                    <a:moveTo>
                      <a:pt x="12185" y="19444"/>
                    </a:moveTo>
                    <a:cubicBezTo>
                      <a:pt x="14541" y="18921"/>
                      <a:pt x="16767" y="18135"/>
                      <a:pt x="18469" y="16433"/>
                    </a:cubicBezTo>
                    <a:cubicBezTo>
                      <a:pt x="21874" y="12767"/>
                      <a:pt x="22136" y="7922"/>
                      <a:pt x="18993" y="3994"/>
                    </a:cubicBezTo>
                    <a:cubicBezTo>
                      <a:pt x="17422" y="2030"/>
                      <a:pt x="15327" y="1114"/>
                      <a:pt x="12970" y="459"/>
                    </a:cubicBezTo>
                    <a:cubicBezTo>
                      <a:pt x="6816" y="-1505"/>
                      <a:pt x="270" y="3078"/>
                      <a:pt x="8" y="9494"/>
                    </a:cubicBezTo>
                    <a:cubicBezTo>
                      <a:pt x="-254" y="15778"/>
                      <a:pt x="5900" y="20885"/>
                      <a:pt x="12185" y="19444"/>
                    </a:cubicBezTo>
                    <a:lnTo>
                      <a:pt x="12185" y="19444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ïŝḷïdê"/>
              <p:cNvSpPr/>
              <p:nvPr/>
            </p:nvSpPr>
            <p:spPr>
              <a:xfrm>
                <a:off x="7546132" y="-1342956"/>
                <a:ext cx="33112" cy="23858"/>
              </a:xfrm>
              <a:custGeom>
                <a:avLst/>
                <a:gdLst>
                  <a:gd name="connsiteX0" fmla="*/ 2347 w 33112"/>
                  <a:gd name="connsiteY0" fmla="*/ 15225 h 23858"/>
                  <a:gd name="connsiteX1" fmla="*/ 14001 w 33112"/>
                  <a:gd name="connsiteY1" fmla="*/ 21903 h 23858"/>
                  <a:gd name="connsiteX2" fmla="*/ 28403 w 33112"/>
                  <a:gd name="connsiteY2" fmla="*/ 22295 h 23858"/>
                  <a:gd name="connsiteX3" fmla="*/ 32200 w 33112"/>
                  <a:gd name="connsiteY3" fmla="*/ 9988 h 23858"/>
                  <a:gd name="connsiteX4" fmla="*/ 21071 w 33112"/>
                  <a:gd name="connsiteY4" fmla="*/ 2001 h 23858"/>
                  <a:gd name="connsiteX5" fmla="*/ 9418 w 33112"/>
                  <a:gd name="connsiteY5" fmla="*/ 37 h 23858"/>
                  <a:gd name="connsiteX6" fmla="*/ 907 w 33112"/>
                  <a:gd name="connsiteY6" fmla="*/ 5274 h 23858"/>
                  <a:gd name="connsiteX7" fmla="*/ 2347 w 33112"/>
                  <a:gd name="connsiteY7" fmla="*/ 15225 h 23858"/>
                  <a:gd name="connsiteX8" fmla="*/ 2347 w 33112"/>
                  <a:gd name="connsiteY8" fmla="*/ 15225 h 23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112" h="23858">
                    <a:moveTo>
                      <a:pt x="2347" y="15225"/>
                    </a:moveTo>
                    <a:cubicBezTo>
                      <a:pt x="5621" y="18237"/>
                      <a:pt x="9942" y="20331"/>
                      <a:pt x="14001" y="21903"/>
                    </a:cubicBezTo>
                    <a:cubicBezTo>
                      <a:pt x="18714" y="23867"/>
                      <a:pt x="23689" y="24914"/>
                      <a:pt x="28403" y="22295"/>
                    </a:cubicBezTo>
                    <a:cubicBezTo>
                      <a:pt x="32986" y="19677"/>
                      <a:pt x="34164" y="14570"/>
                      <a:pt x="32200" y="9988"/>
                    </a:cubicBezTo>
                    <a:cubicBezTo>
                      <a:pt x="30236" y="5405"/>
                      <a:pt x="25653" y="3310"/>
                      <a:pt x="21071" y="2001"/>
                    </a:cubicBezTo>
                    <a:cubicBezTo>
                      <a:pt x="17536" y="954"/>
                      <a:pt x="12953" y="-225"/>
                      <a:pt x="9418" y="37"/>
                    </a:cubicBezTo>
                    <a:cubicBezTo>
                      <a:pt x="5752" y="299"/>
                      <a:pt x="2478" y="1739"/>
                      <a:pt x="907" y="5274"/>
                    </a:cubicBezTo>
                    <a:cubicBezTo>
                      <a:pt x="-533" y="8286"/>
                      <a:pt x="-402" y="12737"/>
                      <a:pt x="2347" y="15225"/>
                    </a:cubicBezTo>
                    <a:lnTo>
                      <a:pt x="2347" y="15225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iṧ1ïḋê"/>
              <p:cNvSpPr/>
              <p:nvPr/>
            </p:nvSpPr>
            <p:spPr>
              <a:xfrm>
                <a:off x="7453252" y="-1490935"/>
                <a:ext cx="20866" cy="20240"/>
              </a:xfrm>
              <a:custGeom>
                <a:avLst/>
                <a:gdLst>
                  <a:gd name="connsiteX0" fmla="*/ 1219 w 20866"/>
                  <a:gd name="connsiteY0" fmla="*/ 14072 h 20240"/>
                  <a:gd name="connsiteX1" fmla="*/ 1481 w 20866"/>
                  <a:gd name="connsiteY1" fmla="*/ 14857 h 20240"/>
                  <a:gd name="connsiteX2" fmla="*/ 20728 w 20866"/>
                  <a:gd name="connsiteY2" fmla="*/ 10536 h 20240"/>
                  <a:gd name="connsiteX3" fmla="*/ 2004 w 20866"/>
                  <a:gd name="connsiteY3" fmla="*/ 4645 h 20240"/>
                  <a:gd name="connsiteX4" fmla="*/ 1481 w 20866"/>
                  <a:gd name="connsiteY4" fmla="*/ 5299 h 20240"/>
                  <a:gd name="connsiteX5" fmla="*/ 1088 w 20866"/>
                  <a:gd name="connsiteY5" fmla="*/ 14334 h 20240"/>
                  <a:gd name="connsiteX6" fmla="*/ 1611 w 20866"/>
                  <a:gd name="connsiteY6" fmla="*/ 14988 h 20240"/>
                  <a:gd name="connsiteX7" fmla="*/ 20858 w 20866"/>
                  <a:gd name="connsiteY7" fmla="*/ 10667 h 20240"/>
                  <a:gd name="connsiteX8" fmla="*/ 2135 w 20866"/>
                  <a:gd name="connsiteY8" fmla="*/ 4775 h 20240"/>
                  <a:gd name="connsiteX9" fmla="*/ 1219 w 20866"/>
                  <a:gd name="connsiteY9" fmla="*/ 14072 h 20240"/>
                  <a:gd name="connsiteX10" fmla="*/ 1219 w 20866"/>
                  <a:gd name="connsiteY10" fmla="*/ 14072 h 20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866" h="20240">
                    <a:moveTo>
                      <a:pt x="1219" y="14072"/>
                    </a:moveTo>
                    <a:cubicBezTo>
                      <a:pt x="1350" y="14334"/>
                      <a:pt x="1481" y="14595"/>
                      <a:pt x="1481" y="14857"/>
                    </a:cubicBezTo>
                    <a:cubicBezTo>
                      <a:pt x="5409" y="24546"/>
                      <a:pt x="20335" y="19964"/>
                      <a:pt x="20728" y="10536"/>
                    </a:cubicBezTo>
                    <a:cubicBezTo>
                      <a:pt x="21121" y="-331"/>
                      <a:pt x="8027" y="-2688"/>
                      <a:pt x="2004" y="4645"/>
                    </a:cubicBezTo>
                    <a:cubicBezTo>
                      <a:pt x="1874" y="4906"/>
                      <a:pt x="1611" y="5037"/>
                      <a:pt x="1481" y="5299"/>
                    </a:cubicBezTo>
                    <a:cubicBezTo>
                      <a:pt x="-353" y="7525"/>
                      <a:pt x="-484" y="11977"/>
                      <a:pt x="1088" y="14334"/>
                    </a:cubicBezTo>
                    <a:cubicBezTo>
                      <a:pt x="1219" y="14595"/>
                      <a:pt x="1350" y="14726"/>
                      <a:pt x="1611" y="14988"/>
                    </a:cubicBezTo>
                    <a:cubicBezTo>
                      <a:pt x="6980" y="22844"/>
                      <a:pt x="20335" y="21535"/>
                      <a:pt x="20858" y="10667"/>
                    </a:cubicBezTo>
                    <a:cubicBezTo>
                      <a:pt x="21251" y="1240"/>
                      <a:pt x="6718" y="-4652"/>
                      <a:pt x="2135" y="4775"/>
                    </a:cubicBezTo>
                    <a:cubicBezTo>
                      <a:pt x="171" y="7918"/>
                      <a:pt x="-221" y="10406"/>
                      <a:pt x="1219" y="14072"/>
                    </a:cubicBezTo>
                    <a:lnTo>
                      <a:pt x="1219" y="14072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iṧlîḍè"/>
              <p:cNvSpPr/>
              <p:nvPr/>
            </p:nvSpPr>
            <p:spPr>
              <a:xfrm>
                <a:off x="6850436" y="-1620135"/>
                <a:ext cx="31154" cy="24652"/>
              </a:xfrm>
              <a:custGeom>
                <a:avLst/>
                <a:gdLst>
                  <a:gd name="connsiteX0" fmla="*/ 28718 w 31154"/>
                  <a:gd name="connsiteY0" fmla="*/ 9198 h 24652"/>
                  <a:gd name="connsiteX1" fmla="*/ 7900 w 31154"/>
                  <a:gd name="connsiteY1" fmla="*/ 294 h 24652"/>
                  <a:gd name="connsiteX2" fmla="*/ 1222 w 31154"/>
                  <a:gd name="connsiteY2" fmla="*/ 14959 h 24652"/>
                  <a:gd name="connsiteX3" fmla="*/ 21517 w 31154"/>
                  <a:gd name="connsiteY3" fmla="*/ 24648 h 24652"/>
                  <a:gd name="connsiteX4" fmla="*/ 28718 w 31154"/>
                  <a:gd name="connsiteY4" fmla="*/ 9198 h 24652"/>
                  <a:gd name="connsiteX5" fmla="*/ 28718 w 31154"/>
                  <a:gd name="connsiteY5" fmla="*/ 9198 h 24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154" h="24652">
                    <a:moveTo>
                      <a:pt x="28718" y="9198"/>
                    </a:moveTo>
                    <a:cubicBezTo>
                      <a:pt x="23612" y="3698"/>
                      <a:pt x="15756" y="-1277"/>
                      <a:pt x="7900" y="294"/>
                    </a:cubicBezTo>
                    <a:cubicBezTo>
                      <a:pt x="1615" y="1473"/>
                      <a:pt x="-2051" y="9459"/>
                      <a:pt x="1222" y="14959"/>
                    </a:cubicBezTo>
                    <a:cubicBezTo>
                      <a:pt x="5281" y="21767"/>
                      <a:pt x="14053" y="24386"/>
                      <a:pt x="21517" y="24648"/>
                    </a:cubicBezTo>
                    <a:cubicBezTo>
                      <a:pt x="29503" y="24909"/>
                      <a:pt x="34348" y="15090"/>
                      <a:pt x="28718" y="9198"/>
                    </a:cubicBezTo>
                    <a:lnTo>
                      <a:pt x="28718" y="9198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îṣ1íḋe"/>
              <p:cNvSpPr/>
              <p:nvPr/>
            </p:nvSpPr>
            <p:spPr>
              <a:xfrm>
                <a:off x="6943691" y="-1536346"/>
                <a:ext cx="31357" cy="18593"/>
              </a:xfrm>
              <a:custGeom>
                <a:avLst/>
                <a:gdLst>
                  <a:gd name="connsiteX0" fmla="*/ 27377 w 31357"/>
                  <a:gd name="connsiteY0" fmla="*/ 4229 h 18593"/>
                  <a:gd name="connsiteX1" fmla="*/ 9439 w 31357"/>
                  <a:gd name="connsiteY1" fmla="*/ 40 h 18593"/>
                  <a:gd name="connsiteX2" fmla="*/ 12 w 31357"/>
                  <a:gd name="connsiteY2" fmla="*/ 8812 h 18593"/>
                  <a:gd name="connsiteX3" fmla="*/ 8784 w 31357"/>
                  <a:gd name="connsiteY3" fmla="*/ 18370 h 18593"/>
                  <a:gd name="connsiteX4" fmla="*/ 26984 w 31357"/>
                  <a:gd name="connsiteY4" fmla="*/ 15620 h 18593"/>
                  <a:gd name="connsiteX5" fmla="*/ 27377 w 31357"/>
                  <a:gd name="connsiteY5" fmla="*/ 4229 h 18593"/>
                  <a:gd name="connsiteX6" fmla="*/ 27377 w 31357"/>
                  <a:gd name="connsiteY6" fmla="*/ 4229 h 18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357" h="18593">
                    <a:moveTo>
                      <a:pt x="27377" y="4229"/>
                    </a:moveTo>
                    <a:cubicBezTo>
                      <a:pt x="21747" y="2265"/>
                      <a:pt x="15462" y="-353"/>
                      <a:pt x="9439" y="40"/>
                    </a:cubicBezTo>
                    <a:cubicBezTo>
                      <a:pt x="4464" y="432"/>
                      <a:pt x="143" y="3444"/>
                      <a:pt x="12" y="8812"/>
                    </a:cubicBezTo>
                    <a:cubicBezTo>
                      <a:pt x="-250" y="14180"/>
                      <a:pt x="3809" y="17584"/>
                      <a:pt x="8784" y="18370"/>
                    </a:cubicBezTo>
                    <a:cubicBezTo>
                      <a:pt x="14807" y="19287"/>
                      <a:pt x="21223" y="17192"/>
                      <a:pt x="26984" y="15620"/>
                    </a:cubicBezTo>
                    <a:cubicBezTo>
                      <a:pt x="32614" y="14180"/>
                      <a:pt x="32876" y="6193"/>
                      <a:pt x="27377" y="4229"/>
                    </a:cubicBezTo>
                    <a:lnTo>
                      <a:pt x="27377" y="422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ïśḷïḑè"/>
              <p:cNvSpPr/>
              <p:nvPr/>
            </p:nvSpPr>
            <p:spPr>
              <a:xfrm>
                <a:off x="6961947" y="-1696615"/>
                <a:ext cx="20359" cy="24746"/>
              </a:xfrm>
              <a:custGeom>
                <a:avLst/>
                <a:gdLst>
                  <a:gd name="connsiteX0" fmla="*/ 19989 w 20359"/>
                  <a:gd name="connsiteY0" fmla="*/ 21389 h 24746"/>
                  <a:gd name="connsiteX1" fmla="*/ 18680 w 20359"/>
                  <a:gd name="connsiteY1" fmla="*/ 7380 h 24746"/>
                  <a:gd name="connsiteX2" fmla="*/ 7289 w 20359"/>
                  <a:gd name="connsiteY2" fmla="*/ 309 h 24746"/>
                  <a:gd name="connsiteX3" fmla="*/ 2968 w 20359"/>
                  <a:gd name="connsiteY3" fmla="*/ 2535 h 24746"/>
                  <a:gd name="connsiteX4" fmla="*/ 2444 w 20359"/>
                  <a:gd name="connsiteY4" fmla="*/ 15890 h 24746"/>
                  <a:gd name="connsiteX5" fmla="*/ 13704 w 20359"/>
                  <a:gd name="connsiteY5" fmla="*/ 24532 h 24746"/>
                  <a:gd name="connsiteX6" fmla="*/ 19989 w 20359"/>
                  <a:gd name="connsiteY6" fmla="*/ 21389 h 24746"/>
                  <a:gd name="connsiteX7" fmla="*/ 19989 w 20359"/>
                  <a:gd name="connsiteY7" fmla="*/ 21389 h 24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359" h="24746">
                    <a:moveTo>
                      <a:pt x="19989" y="21389"/>
                    </a:moveTo>
                    <a:cubicBezTo>
                      <a:pt x="20906" y="16807"/>
                      <a:pt x="19989" y="11831"/>
                      <a:pt x="18680" y="7380"/>
                    </a:cubicBezTo>
                    <a:cubicBezTo>
                      <a:pt x="17370" y="2666"/>
                      <a:pt x="12395" y="-1131"/>
                      <a:pt x="7289" y="309"/>
                    </a:cubicBezTo>
                    <a:cubicBezTo>
                      <a:pt x="5587" y="833"/>
                      <a:pt x="4408" y="1357"/>
                      <a:pt x="2968" y="2535"/>
                    </a:cubicBezTo>
                    <a:cubicBezTo>
                      <a:pt x="-829" y="5939"/>
                      <a:pt x="-960" y="12093"/>
                      <a:pt x="2444" y="15890"/>
                    </a:cubicBezTo>
                    <a:cubicBezTo>
                      <a:pt x="5587" y="19295"/>
                      <a:pt x="9253" y="22961"/>
                      <a:pt x="13704" y="24532"/>
                    </a:cubicBezTo>
                    <a:cubicBezTo>
                      <a:pt x="16061" y="25317"/>
                      <a:pt x="19465" y="23877"/>
                      <a:pt x="19989" y="21389"/>
                    </a:cubicBezTo>
                    <a:lnTo>
                      <a:pt x="19989" y="2138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iśľîḓê"/>
              <p:cNvSpPr/>
              <p:nvPr/>
            </p:nvSpPr>
            <p:spPr>
              <a:xfrm>
                <a:off x="7070743" y="-1706386"/>
                <a:ext cx="22779" cy="23652"/>
              </a:xfrm>
              <a:custGeom>
                <a:avLst/>
                <a:gdLst>
                  <a:gd name="connsiteX0" fmla="*/ 22616 w 22779"/>
                  <a:gd name="connsiteY0" fmla="*/ 17151 h 23652"/>
                  <a:gd name="connsiteX1" fmla="*/ 21699 w 22779"/>
                  <a:gd name="connsiteY1" fmla="*/ 12045 h 23652"/>
                  <a:gd name="connsiteX2" fmla="*/ 19343 w 22779"/>
                  <a:gd name="connsiteY2" fmla="*/ 5367 h 23652"/>
                  <a:gd name="connsiteX3" fmla="*/ 3238 w 22779"/>
                  <a:gd name="connsiteY3" fmla="*/ 2618 h 23652"/>
                  <a:gd name="connsiteX4" fmla="*/ 4678 w 22779"/>
                  <a:gd name="connsiteY4" fmla="*/ 18853 h 23652"/>
                  <a:gd name="connsiteX5" fmla="*/ 11094 w 22779"/>
                  <a:gd name="connsiteY5" fmla="*/ 21865 h 23652"/>
                  <a:gd name="connsiteX6" fmla="*/ 15938 w 22779"/>
                  <a:gd name="connsiteY6" fmla="*/ 23305 h 23652"/>
                  <a:gd name="connsiteX7" fmla="*/ 22616 w 22779"/>
                  <a:gd name="connsiteY7" fmla="*/ 17151 h 23652"/>
                  <a:gd name="connsiteX8" fmla="*/ 22616 w 22779"/>
                  <a:gd name="connsiteY8" fmla="*/ 17151 h 23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779" h="23652">
                    <a:moveTo>
                      <a:pt x="22616" y="17151"/>
                    </a:moveTo>
                    <a:cubicBezTo>
                      <a:pt x="22092" y="15449"/>
                      <a:pt x="22092" y="13747"/>
                      <a:pt x="21699" y="12045"/>
                    </a:cubicBezTo>
                    <a:cubicBezTo>
                      <a:pt x="21307" y="9819"/>
                      <a:pt x="20259" y="7462"/>
                      <a:pt x="19343" y="5367"/>
                    </a:cubicBezTo>
                    <a:cubicBezTo>
                      <a:pt x="16593" y="-787"/>
                      <a:pt x="7952" y="-1572"/>
                      <a:pt x="3238" y="2618"/>
                    </a:cubicBezTo>
                    <a:cubicBezTo>
                      <a:pt x="-1476" y="6938"/>
                      <a:pt x="-1083" y="15580"/>
                      <a:pt x="4678" y="18853"/>
                    </a:cubicBezTo>
                    <a:cubicBezTo>
                      <a:pt x="6511" y="19901"/>
                      <a:pt x="8868" y="21210"/>
                      <a:pt x="11094" y="21865"/>
                    </a:cubicBezTo>
                    <a:cubicBezTo>
                      <a:pt x="12796" y="22388"/>
                      <a:pt x="14367" y="22519"/>
                      <a:pt x="15938" y="23305"/>
                    </a:cubicBezTo>
                    <a:cubicBezTo>
                      <a:pt x="19473" y="24876"/>
                      <a:pt x="23663" y="20817"/>
                      <a:pt x="22616" y="17151"/>
                    </a:cubicBezTo>
                    <a:lnTo>
                      <a:pt x="22616" y="17151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ïṩļiḍê"/>
              <p:cNvSpPr/>
              <p:nvPr/>
            </p:nvSpPr>
            <p:spPr>
              <a:xfrm>
                <a:off x="7223492" y="-1681735"/>
                <a:ext cx="28051" cy="24766"/>
              </a:xfrm>
              <a:custGeom>
                <a:avLst/>
                <a:gdLst>
                  <a:gd name="connsiteX0" fmla="*/ 27379 w 28051"/>
                  <a:gd name="connsiteY0" fmla="*/ 17769 h 24766"/>
                  <a:gd name="connsiteX1" fmla="*/ 22141 w 28051"/>
                  <a:gd name="connsiteY1" fmla="*/ 8080 h 24766"/>
                  <a:gd name="connsiteX2" fmla="*/ 6691 w 28051"/>
                  <a:gd name="connsiteY2" fmla="*/ 355 h 24766"/>
                  <a:gd name="connsiteX3" fmla="*/ 14 w 28051"/>
                  <a:gd name="connsiteY3" fmla="*/ 8473 h 24766"/>
                  <a:gd name="connsiteX4" fmla="*/ 2894 w 28051"/>
                  <a:gd name="connsiteY4" fmla="*/ 17246 h 24766"/>
                  <a:gd name="connsiteX5" fmla="*/ 11536 w 28051"/>
                  <a:gd name="connsiteY5" fmla="*/ 21959 h 24766"/>
                  <a:gd name="connsiteX6" fmla="*/ 21879 w 28051"/>
                  <a:gd name="connsiteY6" fmla="*/ 24578 h 24766"/>
                  <a:gd name="connsiteX7" fmla="*/ 27379 w 28051"/>
                  <a:gd name="connsiteY7" fmla="*/ 17769 h 24766"/>
                  <a:gd name="connsiteX8" fmla="*/ 27379 w 28051"/>
                  <a:gd name="connsiteY8" fmla="*/ 17769 h 24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051" h="24766">
                    <a:moveTo>
                      <a:pt x="27379" y="17769"/>
                    </a:moveTo>
                    <a:cubicBezTo>
                      <a:pt x="25153" y="14496"/>
                      <a:pt x="23450" y="11092"/>
                      <a:pt x="22141" y="8080"/>
                    </a:cubicBezTo>
                    <a:cubicBezTo>
                      <a:pt x="19261" y="1926"/>
                      <a:pt x="13238" y="-1085"/>
                      <a:pt x="6691" y="355"/>
                    </a:cubicBezTo>
                    <a:cubicBezTo>
                      <a:pt x="3287" y="1010"/>
                      <a:pt x="-248" y="4807"/>
                      <a:pt x="14" y="8473"/>
                    </a:cubicBezTo>
                    <a:cubicBezTo>
                      <a:pt x="144" y="11746"/>
                      <a:pt x="668" y="14627"/>
                      <a:pt x="2894" y="17246"/>
                    </a:cubicBezTo>
                    <a:cubicBezTo>
                      <a:pt x="5120" y="19864"/>
                      <a:pt x="8263" y="21435"/>
                      <a:pt x="11536" y="21959"/>
                    </a:cubicBezTo>
                    <a:cubicBezTo>
                      <a:pt x="14547" y="22483"/>
                      <a:pt x="18213" y="23268"/>
                      <a:pt x="21879" y="24578"/>
                    </a:cubicBezTo>
                    <a:cubicBezTo>
                      <a:pt x="25415" y="25756"/>
                      <a:pt x="29735" y="21173"/>
                      <a:pt x="27379" y="17769"/>
                    </a:cubicBezTo>
                    <a:lnTo>
                      <a:pt x="27379" y="1776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išḻiḋé"/>
              <p:cNvSpPr/>
              <p:nvPr/>
            </p:nvSpPr>
            <p:spPr>
              <a:xfrm>
                <a:off x="7159302" y="-1726160"/>
                <a:ext cx="21794" cy="22790"/>
              </a:xfrm>
              <a:custGeom>
                <a:avLst/>
                <a:gdLst>
                  <a:gd name="connsiteX0" fmla="*/ 21389 w 21794"/>
                  <a:gd name="connsiteY0" fmla="*/ 10084 h 22790"/>
                  <a:gd name="connsiteX1" fmla="*/ 17592 w 21794"/>
                  <a:gd name="connsiteY1" fmla="*/ 3275 h 22790"/>
                  <a:gd name="connsiteX2" fmla="*/ 5285 w 21794"/>
                  <a:gd name="connsiteY2" fmla="*/ 1180 h 22790"/>
                  <a:gd name="connsiteX3" fmla="*/ 178 w 21794"/>
                  <a:gd name="connsiteY3" fmla="*/ 12440 h 22790"/>
                  <a:gd name="connsiteX4" fmla="*/ 1749 w 21794"/>
                  <a:gd name="connsiteY4" fmla="*/ 17285 h 22790"/>
                  <a:gd name="connsiteX5" fmla="*/ 14712 w 21794"/>
                  <a:gd name="connsiteY5" fmla="*/ 22129 h 22790"/>
                  <a:gd name="connsiteX6" fmla="*/ 21389 w 21794"/>
                  <a:gd name="connsiteY6" fmla="*/ 10084 h 22790"/>
                  <a:gd name="connsiteX7" fmla="*/ 21389 w 21794"/>
                  <a:gd name="connsiteY7" fmla="*/ 10084 h 22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794" h="22790">
                    <a:moveTo>
                      <a:pt x="21389" y="10084"/>
                    </a:moveTo>
                    <a:cubicBezTo>
                      <a:pt x="20473" y="7465"/>
                      <a:pt x="19294" y="5501"/>
                      <a:pt x="17592" y="3275"/>
                    </a:cubicBezTo>
                    <a:cubicBezTo>
                      <a:pt x="14842" y="2"/>
                      <a:pt x="9081" y="-1046"/>
                      <a:pt x="5285" y="1180"/>
                    </a:cubicBezTo>
                    <a:cubicBezTo>
                      <a:pt x="1226" y="3537"/>
                      <a:pt x="-607" y="7858"/>
                      <a:pt x="178" y="12440"/>
                    </a:cubicBezTo>
                    <a:cubicBezTo>
                      <a:pt x="440" y="14142"/>
                      <a:pt x="964" y="15714"/>
                      <a:pt x="1749" y="17285"/>
                    </a:cubicBezTo>
                    <a:cubicBezTo>
                      <a:pt x="4368" y="21867"/>
                      <a:pt x="9736" y="23962"/>
                      <a:pt x="14712" y="22129"/>
                    </a:cubicBezTo>
                    <a:cubicBezTo>
                      <a:pt x="19163" y="20689"/>
                      <a:pt x="23091" y="15059"/>
                      <a:pt x="21389" y="10084"/>
                    </a:cubicBezTo>
                    <a:lnTo>
                      <a:pt x="21389" y="10084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iṣḷíďe"/>
              <p:cNvSpPr/>
              <p:nvPr/>
            </p:nvSpPr>
            <p:spPr>
              <a:xfrm>
                <a:off x="7458239" y="-1390511"/>
                <a:ext cx="18496" cy="19335"/>
              </a:xfrm>
              <a:custGeom>
                <a:avLst/>
                <a:gdLst>
                  <a:gd name="connsiteX0" fmla="*/ 10634 w 18496"/>
                  <a:gd name="connsiteY0" fmla="*/ 18655 h 19335"/>
                  <a:gd name="connsiteX1" fmla="*/ 12074 w 18496"/>
                  <a:gd name="connsiteY1" fmla="*/ 18132 h 19335"/>
                  <a:gd name="connsiteX2" fmla="*/ 12729 w 18496"/>
                  <a:gd name="connsiteY2" fmla="*/ 1634 h 19335"/>
                  <a:gd name="connsiteX3" fmla="*/ 11289 w 18496"/>
                  <a:gd name="connsiteY3" fmla="*/ 979 h 19335"/>
                  <a:gd name="connsiteX4" fmla="*/ 10634 w 18496"/>
                  <a:gd name="connsiteY4" fmla="*/ 18655 h 19335"/>
                  <a:gd name="connsiteX5" fmla="*/ 10634 w 18496"/>
                  <a:gd name="connsiteY5" fmla="*/ 18655 h 19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496" h="19335">
                    <a:moveTo>
                      <a:pt x="10634" y="18655"/>
                    </a:moveTo>
                    <a:cubicBezTo>
                      <a:pt x="11158" y="18524"/>
                      <a:pt x="11551" y="18262"/>
                      <a:pt x="12074" y="18132"/>
                    </a:cubicBezTo>
                    <a:cubicBezTo>
                      <a:pt x="20323" y="15120"/>
                      <a:pt x="20716" y="5300"/>
                      <a:pt x="12729" y="1634"/>
                    </a:cubicBezTo>
                    <a:cubicBezTo>
                      <a:pt x="12206" y="1372"/>
                      <a:pt x="11813" y="1241"/>
                      <a:pt x="11289" y="979"/>
                    </a:cubicBezTo>
                    <a:cubicBezTo>
                      <a:pt x="-2983" y="-5698"/>
                      <a:pt x="-4292" y="24155"/>
                      <a:pt x="10634" y="18655"/>
                    </a:cubicBezTo>
                    <a:lnTo>
                      <a:pt x="10634" y="18655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iṥľîďé"/>
              <p:cNvSpPr/>
              <p:nvPr/>
            </p:nvSpPr>
            <p:spPr>
              <a:xfrm>
                <a:off x="7314239" y="-1363776"/>
                <a:ext cx="17810" cy="25059"/>
              </a:xfrm>
              <a:custGeom>
                <a:avLst/>
                <a:gdLst>
                  <a:gd name="connsiteX0" fmla="*/ 3 w 17810"/>
                  <a:gd name="connsiteY0" fmla="*/ 7371 h 25059"/>
                  <a:gd name="connsiteX1" fmla="*/ 3801 w 17810"/>
                  <a:gd name="connsiteY1" fmla="*/ 22559 h 25059"/>
                  <a:gd name="connsiteX2" fmla="*/ 10347 w 17810"/>
                  <a:gd name="connsiteY2" fmla="*/ 25047 h 25059"/>
                  <a:gd name="connsiteX3" fmla="*/ 16239 w 17810"/>
                  <a:gd name="connsiteY3" fmla="*/ 21512 h 25059"/>
                  <a:gd name="connsiteX4" fmla="*/ 17417 w 17810"/>
                  <a:gd name="connsiteY4" fmla="*/ 11823 h 25059"/>
                  <a:gd name="connsiteX5" fmla="*/ 15453 w 17810"/>
                  <a:gd name="connsiteY5" fmla="*/ 5931 h 25059"/>
                  <a:gd name="connsiteX6" fmla="*/ 7205 w 17810"/>
                  <a:gd name="connsiteY6" fmla="*/ 39 h 25059"/>
                  <a:gd name="connsiteX7" fmla="*/ 3 w 17810"/>
                  <a:gd name="connsiteY7" fmla="*/ 7371 h 25059"/>
                  <a:gd name="connsiteX8" fmla="*/ 3 w 17810"/>
                  <a:gd name="connsiteY8" fmla="*/ 7371 h 25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810" h="25059">
                    <a:moveTo>
                      <a:pt x="3" y="7371"/>
                    </a:moveTo>
                    <a:cubicBezTo>
                      <a:pt x="265" y="12347"/>
                      <a:pt x="-389" y="18893"/>
                      <a:pt x="3801" y="22559"/>
                    </a:cubicBezTo>
                    <a:cubicBezTo>
                      <a:pt x="5764" y="24261"/>
                      <a:pt x="7728" y="25178"/>
                      <a:pt x="10347" y="25047"/>
                    </a:cubicBezTo>
                    <a:cubicBezTo>
                      <a:pt x="12573" y="24785"/>
                      <a:pt x="15192" y="23607"/>
                      <a:pt x="16239" y="21512"/>
                    </a:cubicBezTo>
                    <a:cubicBezTo>
                      <a:pt x="17810" y="18370"/>
                      <a:pt x="18203" y="15227"/>
                      <a:pt x="17417" y="11823"/>
                    </a:cubicBezTo>
                    <a:cubicBezTo>
                      <a:pt x="16894" y="9859"/>
                      <a:pt x="16108" y="7895"/>
                      <a:pt x="15453" y="5931"/>
                    </a:cubicBezTo>
                    <a:cubicBezTo>
                      <a:pt x="14144" y="2265"/>
                      <a:pt x="11263" y="-354"/>
                      <a:pt x="7205" y="39"/>
                    </a:cubicBezTo>
                    <a:cubicBezTo>
                      <a:pt x="3538" y="432"/>
                      <a:pt x="-128" y="3574"/>
                      <a:pt x="3" y="7371"/>
                    </a:cubicBezTo>
                    <a:lnTo>
                      <a:pt x="3" y="7371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3" name="图形 7"/>
            <p:cNvGrpSpPr/>
            <p:nvPr/>
          </p:nvGrpSpPr>
          <p:grpSpPr>
            <a:xfrm>
              <a:off x="7599282" y="-392628"/>
              <a:ext cx="1271106" cy="1022204"/>
              <a:chOff x="7599282" y="-392628"/>
              <a:chExt cx="1271106" cy="1022204"/>
            </a:xfrm>
            <a:solidFill>
              <a:srgbClr val="009EE3"/>
            </a:solidFill>
          </p:grpSpPr>
          <p:sp>
            <p:nvSpPr>
              <p:cNvPr id="57" name="iṡ1îḓê"/>
              <p:cNvSpPr/>
              <p:nvPr/>
            </p:nvSpPr>
            <p:spPr>
              <a:xfrm>
                <a:off x="7599282" y="-325444"/>
                <a:ext cx="1024414" cy="955020"/>
              </a:xfrm>
              <a:custGeom>
                <a:avLst/>
                <a:gdLst>
                  <a:gd name="connsiteX0" fmla="*/ 0 w 1024414"/>
                  <a:gd name="connsiteY0" fmla="*/ 955021 h 955020"/>
                  <a:gd name="connsiteX1" fmla="*/ 176759 w 1024414"/>
                  <a:gd name="connsiteY1" fmla="*/ 908147 h 955020"/>
                  <a:gd name="connsiteX2" fmla="*/ 344483 w 1024414"/>
                  <a:gd name="connsiteY2" fmla="*/ 833253 h 955020"/>
                  <a:gd name="connsiteX3" fmla="*/ 643663 w 1024414"/>
                  <a:gd name="connsiteY3" fmla="*/ 619179 h 955020"/>
                  <a:gd name="connsiteX4" fmla="*/ 708999 w 1024414"/>
                  <a:gd name="connsiteY4" fmla="*/ 553975 h 955020"/>
                  <a:gd name="connsiteX5" fmla="*/ 739768 w 1024414"/>
                  <a:gd name="connsiteY5" fmla="*/ 519540 h 955020"/>
                  <a:gd name="connsiteX6" fmla="*/ 754956 w 1024414"/>
                  <a:gd name="connsiteY6" fmla="*/ 502256 h 955020"/>
                  <a:gd name="connsiteX7" fmla="*/ 769490 w 1024414"/>
                  <a:gd name="connsiteY7" fmla="*/ 484319 h 955020"/>
                  <a:gd name="connsiteX8" fmla="*/ 876068 w 1024414"/>
                  <a:gd name="connsiteY8" fmla="*/ 334139 h 955020"/>
                  <a:gd name="connsiteX9" fmla="*/ 1024415 w 1024414"/>
                  <a:gd name="connsiteY9" fmla="*/ 0 h 955020"/>
                  <a:gd name="connsiteX10" fmla="*/ 846085 w 1024414"/>
                  <a:gd name="connsiteY10" fmla="*/ 314500 h 955020"/>
                  <a:gd name="connsiteX11" fmla="*/ 736102 w 1024414"/>
                  <a:gd name="connsiteY11" fmla="*/ 456299 h 955020"/>
                  <a:gd name="connsiteX12" fmla="*/ 721568 w 1024414"/>
                  <a:gd name="connsiteY12" fmla="*/ 473321 h 955020"/>
                  <a:gd name="connsiteX13" fmla="*/ 706511 w 1024414"/>
                  <a:gd name="connsiteY13" fmla="*/ 489949 h 955020"/>
                  <a:gd name="connsiteX14" fmla="*/ 676135 w 1024414"/>
                  <a:gd name="connsiteY14" fmla="*/ 522813 h 955020"/>
                  <a:gd name="connsiteX15" fmla="*/ 644711 w 1024414"/>
                  <a:gd name="connsiteY15" fmla="*/ 554760 h 955020"/>
                  <a:gd name="connsiteX16" fmla="*/ 636855 w 1024414"/>
                  <a:gd name="connsiteY16" fmla="*/ 562747 h 955020"/>
                  <a:gd name="connsiteX17" fmla="*/ 628737 w 1024414"/>
                  <a:gd name="connsiteY17" fmla="*/ 570472 h 955020"/>
                  <a:gd name="connsiteX18" fmla="*/ 612371 w 1024414"/>
                  <a:gd name="connsiteY18" fmla="*/ 585791 h 955020"/>
                  <a:gd name="connsiteX19" fmla="*/ 327069 w 1024414"/>
                  <a:gd name="connsiteY19" fmla="*/ 802222 h 955020"/>
                  <a:gd name="connsiteX20" fmla="*/ 288313 w 1024414"/>
                  <a:gd name="connsiteY20" fmla="*/ 825005 h 955020"/>
                  <a:gd name="connsiteX21" fmla="*/ 248903 w 1024414"/>
                  <a:gd name="connsiteY21" fmla="*/ 846870 h 955020"/>
                  <a:gd name="connsiteX22" fmla="*/ 168379 w 1024414"/>
                  <a:gd name="connsiteY22" fmla="*/ 887590 h 955020"/>
                  <a:gd name="connsiteX23" fmla="*/ 0 w 1024414"/>
                  <a:gd name="connsiteY23" fmla="*/ 955021 h 955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024414" h="955020">
                    <a:moveTo>
                      <a:pt x="0" y="955021"/>
                    </a:moveTo>
                    <a:cubicBezTo>
                      <a:pt x="60360" y="946248"/>
                      <a:pt x="119149" y="928441"/>
                      <a:pt x="176759" y="908147"/>
                    </a:cubicBezTo>
                    <a:cubicBezTo>
                      <a:pt x="234238" y="887067"/>
                      <a:pt x="290277" y="862190"/>
                      <a:pt x="344483" y="833253"/>
                    </a:cubicBezTo>
                    <a:cubicBezTo>
                      <a:pt x="453026" y="775905"/>
                      <a:pt x="554106" y="703630"/>
                      <a:pt x="643663" y="619179"/>
                    </a:cubicBezTo>
                    <a:cubicBezTo>
                      <a:pt x="666315" y="598361"/>
                      <a:pt x="687526" y="575971"/>
                      <a:pt x="708999" y="553975"/>
                    </a:cubicBezTo>
                    <a:cubicBezTo>
                      <a:pt x="719473" y="542584"/>
                      <a:pt x="729424" y="530931"/>
                      <a:pt x="739768" y="519540"/>
                    </a:cubicBezTo>
                    <a:cubicBezTo>
                      <a:pt x="744874" y="513779"/>
                      <a:pt x="750112" y="508149"/>
                      <a:pt x="754956" y="502256"/>
                    </a:cubicBezTo>
                    <a:lnTo>
                      <a:pt x="769490" y="484319"/>
                    </a:lnTo>
                    <a:cubicBezTo>
                      <a:pt x="808769" y="436921"/>
                      <a:pt x="843728" y="386250"/>
                      <a:pt x="876068" y="334139"/>
                    </a:cubicBezTo>
                    <a:cubicBezTo>
                      <a:pt x="939963" y="229394"/>
                      <a:pt x="990503" y="116923"/>
                      <a:pt x="1024415" y="0"/>
                    </a:cubicBezTo>
                    <a:cubicBezTo>
                      <a:pt x="972565" y="110114"/>
                      <a:pt x="914039" y="215646"/>
                      <a:pt x="846085" y="314500"/>
                    </a:cubicBezTo>
                    <a:cubicBezTo>
                      <a:pt x="811126" y="363206"/>
                      <a:pt x="775643" y="411390"/>
                      <a:pt x="736102" y="456299"/>
                    </a:cubicBezTo>
                    <a:lnTo>
                      <a:pt x="721568" y="473321"/>
                    </a:lnTo>
                    <a:cubicBezTo>
                      <a:pt x="716724" y="478951"/>
                      <a:pt x="711486" y="484319"/>
                      <a:pt x="706511" y="489949"/>
                    </a:cubicBezTo>
                    <a:cubicBezTo>
                      <a:pt x="696299" y="500947"/>
                      <a:pt x="686348" y="512076"/>
                      <a:pt x="676135" y="522813"/>
                    </a:cubicBezTo>
                    <a:lnTo>
                      <a:pt x="644711" y="554760"/>
                    </a:lnTo>
                    <a:lnTo>
                      <a:pt x="636855" y="562747"/>
                    </a:lnTo>
                    <a:lnTo>
                      <a:pt x="628737" y="570472"/>
                    </a:lnTo>
                    <a:lnTo>
                      <a:pt x="612371" y="585791"/>
                    </a:lnTo>
                    <a:cubicBezTo>
                      <a:pt x="525563" y="667886"/>
                      <a:pt x="429458" y="739899"/>
                      <a:pt x="327069" y="802222"/>
                    </a:cubicBezTo>
                    <a:cubicBezTo>
                      <a:pt x="314369" y="810209"/>
                      <a:pt x="301275" y="817673"/>
                      <a:pt x="288313" y="825005"/>
                    </a:cubicBezTo>
                    <a:cubicBezTo>
                      <a:pt x="275351" y="832599"/>
                      <a:pt x="261996" y="839538"/>
                      <a:pt x="248903" y="846870"/>
                    </a:cubicBezTo>
                    <a:cubicBezTo>
                      <a:pt x="222585" y="861273"/>
                      <a:pt x="195613" y="874628"/>
                      <a:pt x="168379" y="887590"/>
                    </a:cubicBezTo>
                    <a:cubicBezTo>
                      <a:pt x="113650" y="913122"/>
                      <a:pt x="57872" y="936428"/>
                      <a:pt x="0" y="955021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íṡ1íḓê"/>
              <p:cNvSpPr/>
              <p:nvPr/>
            </p:nvSpPr>
            <p:spPr>
              <a:xfrm>
                <a:off x="8376234" y="-20110"/>
                <a:ext cx="427101" cy="137858"/>
              </a:xfrm>
              <a:custGeom>
                <a:avLst/>
                <a:gdLst>
                  <a:gd name="connsiteX0" fmla="*/ 0 w 427101"/>
                  <a:gd name="connsiteY0" fmla="*/ 128707 h 137858"/>
                  <a:gd name="connsiteX1" fmla="*/ 115482 w 427101"/>
                  <a:gd name="connsiteY1" fmla="*/ 137348 h 137858"/>
                  <a:gd name="connsiteX2" fmla="*/ 230703 w 427101"/>
                  <a:gd name="connsiteY2" fmla="*/ 119934 h 137858"/>
                  <a:gd name="connsiteX3" fmla="*/ 258722 w 427101"/>
                  <a:gd name="connsiteY3" fmla="*/ 111554 h 137858"/>
                  <a:gd name="connsiteX4" fmla="*/ 286218 w 427101"/>
                  <a:gd name="connsiteY4" fmla="*/ 101211 h 137858"/>
                  <a:gd name="connsiteX5" fmla="*/ 338722 w 427101"/>
                  <a:gd name="connsiteY5" fmla="*/ 75155 h 137858"/>
                  <a:gd name="connsiteX6" fmla="*/ 427102 w 427101"/>
                  <a:gd name="connsiteY6" fmla="*/ 0 h 137858"/>
                  <a:gd name="connsiteX7" fmla="*/ 329950 w 427101"/>
                  <a:gd name="connsiteY7" fmla="*/ 58789 h 137858"/>
                  <a:gd name="connsiteX8" fmla="*/ 317118 w 427101"/>
                  <a:gd name="connsiteY8" fmla="*/ 64550 h 137858"/>
                  <a:gd name="connsiteX9" fmla="*/ 304287 w 427101"/>
                  <a:gd name="connsiteY9" fmla="*/ 70180 h 137858"/>
                  <a:gd name="connsiteX10" fmla="*/ 278101 w 427101"/>
                  <a:gd name="connsiteY10" fmla="*/ 80262 h 137858"/>
                  <a:gd name="connsiteX11" fmla="*/ 224549 w 427101"/>
                  <a:gd name="connsiteY11" fmla="*/ 97021 h 137858"/>
                  <a:gd name="connsiteX12" fmla="*/ 113911 w 427101"/>
                  <a:gd name="connsiteY12" fmla="*/ 119017 h 137858"/>
                  <a:gd name="connsiteX13" fmla="*/ 0 w 427101"/>
                  <a:gd name="connsiteY13" fmla="*/ 128707 h 137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27101" h="137858">
                    <a:moveTo>
                      <a:pt x="0" y="128707"/>
                    </a:moveTo>
                    <a:cubicBezTo>
                      <a:pt x="37709" y="137086"/>
                      <a:pt x="76727" y="138919"/>
                      <a:pt x="115482" y="137348"/>
                    </a:cubicBezTo>
                    <a:cubicBezTo>
                      <a:pt x="154238" y="135646"/>
                      <a:pt x="192995" y="130147"/>
                      <a:pt x="230703" y="119934"/>
                    </a:cubicBezTo>
                    <a:cubicBezTo>
                      <a:pt x="240130" y="117446"/>
                      <a:pt x="249426" y="114435"/>
                      <a:pt x="258722" y="111554"/>
                    </a:cubicBezTo>
                    <a:cubicBezTo>
                      <a:pt x="267888" y="108150"/>
                      <a:pt x="277184" y="105139"/>
                      <a:pt x="286218" y="101211"/>
                    </a:cubicBezTo>
                    <a:cubicBezTo>
                      <a:pt x="304287" y="93617"/>
                      <a:pt x="321963" y="85237"/>
                      <a:pt x="338722" y="75155"/>
                    </a:cubicBezTo>
                    <a:cubicBezTo>
                      <a:pt x="372503" y="55515"/>
                      <a:pt x="402879" y="29983"/>
                      <a:pt x="427102" y="0"/>
                    </a:cubicBezTo>
                    <a:cubicBezTo>
                      <a:pt x="396070" y="22913"/>
                      <a:pt x="363992" y="42815"/>
                      <a:pt x="329950" y="58789"/>
                    </a:cubicBezTo>
                    <a:cubicBezTo>
                      <a:pt x="325760" y="60883"/>
                      <a:pt x="321439" y="62848"/>
                      <a:pt x="317118" y="64550"/>
                    </a:cubicBezTo>
                    <a:lnTo>
                      <a:pt x="304287" y="70180"/>
                    </a:lnTo>
                    <a:cubicBezTo>
                      <a:pt x="295514" y="73584"/>
                      <a:pt x="287004" y="77250"/>
                      <a:pt x="278101" y="80262"/>
                    </a:cubicBezTo>
                    <a:cubicBezTo>
                      <a:pt x="260556" y="86677"/>
                      <a:pt x="242618" y="92307"/>
                      <a:pt x="224549" y="97021"/>
                    </a:cubicBezTo>
                    <a:cubicBezTo>
                      <a:pt x="188412" y="106841"/>
                      <a:pt x="151358" y="113911"/>
                      <a:pt x="113911" y="119017"/>
                    </a:cubicBezTo>
                    <a:cubicBezTo>
                      <a:pt x="76334" y="123862"/>
                      <a:pt x="38494" y="127135"/>
                      <a:pt x="0" y="128707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ïṥlídè"/>
              <p:cNvSpPr/>
              <p:nvPr/>
            </p:nvSpPr>
            <p:spPr>
              <a:xfrm>
                <a:off x="8275320" y="-230649"/>
                <a:ext cx="93188" cy="442289"/>
              </a:xfrm>
              <a:custGeom>
                <a:avLst/>
                <a:gdLst>
                  <a:gd name="connsiteX0" fmla="*/ 93189 w 93188"/>
                  <a:gd name="connsiteY0" fmla="*/ 0 h 442289"/>
                  <a:gd name="connsiteX1" fmla="*/ 37673 w 93188"/>
                  <a:gd name="connsiteY1" fmla="*/ 101603 h 442289"/>
                  <a:gd name="connsiteX2" fmla="*/ 5988 w 93188"/>
                  <a:gd name="connsiteY2" fmla="*/ 213813 h 442289"/>
                  <a:gd name="connsiteX3" fmla="*/ 2060 w 93188"/>
                  <a:gd name="connsiteY3" fmla="*/ 242880 h 442289"/>
                  <a:gd name="connsiteX4" fmla="*/ 227 w 93188"/>
                  <a:gd name="connsiteY4" fmla="*/ 272208 h 442289"/>
                  <a:gd name="connsiteX5" fmla="*/ 2321 w 93188"/>
                  <a:gd name="connsiteY5" fmla="*/ 330735 h 442289"/>
                  <a:gd name="connsiteX6" fmla="*/ 34269 w 93188"/>
                  <a:gd name="connsiteY6" fmla="*/ 442289 h 442289"/>
                  <a:gd name="connsiteX7" fmla="*/ 20914 w 93188"/>
                  <a:gd name="connsiteY7" fmla="*/ 329557 h 442289"/>
                  <a:gd name="connsiteX8" fmla="*/ 20914 w 93188"/>
                  <a:gd name="connsiteY8" fmla="*/ 315547 h 442289"/>
                  <a:gd name="connsiteX9" fmla="*/ 21045 w 93188"/>
                  <a:gd name="connsiteY9" fmla="*/ 301537 h 442289"/>
                  <a:gd name="connsiteX10" fmla="*/ 22747 w 93188"/>
                  <a:gd name="connsiteY10" fmla="*/ 273518 h 442289"/>
                  <a:gd name="connsiteX11" fmla="*/ 29556 w 93188"/>
                  <a:gd name="connsiteY11" fmla="*/ 217741 h 442289"/>
                  <a:gd name="connsiteX12" fmla="*/ 55218 w 93188"/>
                  <a:gd name="connsiteY12" fmla="*/ 107888 h 442289"/>
                  <a:gd name="connsiteX13" fmla="*/ 93189 w 93188"/>
                  <a:gd name="connsiteY13" fmla="*/ 0 h 442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3188" h="442289">
                    <a:moveTo>
                      <a:pt x="93189" y="0"/>
                    </a:moveTo>
                    <a:cubicBezTo>
                      <a:pt x="70014" y="30900"/>
                      <a:pt x="52207" y="65728"/>
                      <a:pt x="37673" y="101603"/>
                    </a:cubicBezTo>
                    <a:cubicBezTo>
                      <a:pt x="23271" y="137610"/>
                      <a:pt x="12272" y="175188"/>
                      <a:pt x="5988" y="213813"/>
                    </a:cubicBezTo>
                    <a:cubicBezTo>
                      <a:pt x="4286" y="223502"/>
                      <a:pt x="3238" y="233190"/>
                      <a:pt x="2060" y="242880"/>
                    </a:cubicBezTo>
                    <a:cubicBezTo>
                      <a:pt x="1274" y="252699"/>
                      <a:pt x="358" y="262388"/>
                      <a:pt x="227" y="272208"/>
                    </a:cubicBezTo>
                    <a:cubicBezTo>
                      <a:pt x="-297" y="291717"/>
                      <a:pt x="-35" y="311357"/>
                      <a:pt x="2321" y="330735"/>
                    </a:cubicBezTo>
                    <a:cubicBezTo>
                      <a:pt x="6380" y="369622"/>
                      <a:pt x="16986" y="407854"/>
                      <a:pt x="34269" y="442289"/>
                    </a:cubicBezTo>
                    <a:cubicBezTo>
                      <a:pt x="26282" y="404581"/>
                      <a:pt x="21307" y="367134"/>
                      <a:pt x="20914" y="329557"/>
                    </a:cubicBezTo>
                    <a:cubicBezTo>
                      <a:pt x="20783" y="324843"/>
                      <a:pt x="20783" y="320130"/>
                      <a:pt x="20914" y="315547"/>
                    </a:cubicBezTo>
                    <a:lnTo>
                      <a:pt x="21045" y="301537"/>
                    </a:lnTo>
                    <a:cubicBezTo>
                      <a:pt x="21569" y="292241"/>
                      <a:pt x="21831" y="282814"/>
                      <a:pt x="22747" y="273518"/>
                    </a:cubicBezTo>
                    <a:cubicBezTo>
                      <a:pt x="24187" y="254925"/>
                      <a:pt x="26413" y="236202"/>
                      <a:pt x="29556" y="217741"/>
                    </a:cubicBezTo>
                    <a:cubicBezTo>
                      <a:pt x="35578" y="180687"/>
                      <a:pt x="44351" y="144156"/>
                      <a:pt x="55218" y="107888"/>
                    </a:cubicBezTo>
                    <a:cubicBezTo>
                      <a:pt x="66086" y="71489"/>
                      <a:pt x="78655" y="35614"/>
                      <a:pt x="93189" y="0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iš1iḑê"/>
              <p:cNvSpPr/>
              <p:nvPr/>
            </p:nvSpPr>
            <p:spPr>
              <a:xfrm>
                <a:off x="8736152" y="-87424"/>
                <a:ext cx="134236" cy="134236"/>
              </a:xfrm>
              <a:custGeom>
                <a:avLst/>
                <a:gdLst>
                  <a:gd name="connsiteX0" fmla="*/ 65612 w 134236"/>
                  <a:gd name="connsiteY0" fmla="*/ 15 h 134236"/>
                  <a:gd name="connsiteX1" fmla="*/ 15 w 134236"/>
                  <a:gd name="connsiteY1" fmla="*/ 68624 h 134236"/>
                  <a:gd name="connsiteX2" fmla="*/ 68624 w 134236"/>
                  <a:gd name="connsiteY2" fmla="*/ 134221 h 134236"/>
                  <a:gd name="connsiteX3" fmla="*/ 134221 w 134236"/>
                  <a:gd name="connsiteY3" fmla="*/ 65612 h 134236"/>
                  <a:gd name="connsiteX4" fmla="*/ 65612 w 134236"/>
                  <a:gd name="connsiteY4" fmla="*/ 15 h 134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236" h="134236">
                    <a:moveTo>
                      <a:pt x="65612" y="15"/>
                    </a:moveTo>
                    <a:cubicBezTo>
                      <a:pt x="28559" y="932"/>
                      <a:pt x="-770" y="31570"/>
                      <a:pt x="15" y="68624"/>
                    </a:cubicBezTo>
                    <a:cubicBezTo>
                      <a:pt x="932" y="105678"/>
                      <a:pt x="31570" y="135007"/>
                      <a:pt x="68624" y="134221"/>
                    </a:cubicBezTo>
                    <a:cubicBezTo>
                      <a:pt x="105678" y="133304"/>
                      <a:pt x="135007" y="102666"/>
                      <a:pt x="134221" y="65612"/>
                    </a:cubicBezTo>
                    <a:cubicBezTo>
                      <a:pt x="133436" y="28559"/>
                      <a:pt x="102666" y="-770"/>
                      <a:pt x="65612" y="15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îŝľíḑè"/>
              <p:cNvSpPr/>
              <p:nvPr/>
            </p:nvSpPr>
            <p:spPr>
              <a:xfrm>
                <a:off x="8308003" y="-269164"/>
                <a:ext cx="134236" cy="134241"/>
              </a:xfrm>
              <a:custGeom>
                <a:avLst/>
                <a:gdLst>
                  <a:gd name="connsiteX0" fmla="*/ 65613 w 134236"/>
                  <a:gd name="connsiteY0" fmla="*/ 21 h 134241"/>
                  <a:gd name="connsiteX1" fmla="*/ 15 w 134236"/>
                  <a:gd name="connsiteY1" fmla="*/ 68630 h 134241"/>
                  <a:gd name="connsiteX2" fmla="*/ 68624 w 134236"/>
                  <a:gd name="connsiteY2" fmla="*/ 134227 h 134241"/>
                  <a:gd name="connsiteX3" fmla="*/ 134221 w 134236"/>
                  <a:gd name="connsiteY3" fmla="*/ 65618 h 134241"/>
                  <a:gd name="connsiteX4" fmla="*/ 65613 w 134236"/>
                  <a:gd name="connsiteY4" fmla="*/ 21 h 134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236" h="134241">
                    <a:moveTo>
                      <a:pt x="65613" y="21"/>
                    </a:moveTo>
                    <a:cubicBezTo>
                      <a:pt x="28559" y="938"/>
                      <a:pt x="-770" y="31576"/>
                      <a:pt x="15" y="68630"/>
                    </a:cubicBezTo>
                    <a:cubicBezTo>
                      <a:pt x="932" y="105683"/>
                      <a:pt x="31570" y="135012"/>
                      <a:pt x="68624" y="134227"/>
                    </a:cubicBezTo>
                    <a:cubicBezTo>
                      <a:pt x="105678" y="133310"/>
                      <a:pt x="135007" y="102672"/>
                      <a:pt x="134221" y="65618"/>
                    </a:cubicBezTo>
                    <a:cubicBezTo>
                      <a:pt x="133304" y="28433"/>
                      <a:pt x="102666" y="-896"/>
                      <a:pt x="65613" y="21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í$ļïďê"/>
              <p:cNvSpPr/>
              <p:nvPr/>
            </p:nvSpPr>
            <p:spPr>
              <a:xfrm>
                <a:off x="8556382" y="-392628"/>
                <a:ext cx="134236" cy="134236"/>
              </a:xfrm>
              <a:custGeom>
                <a:avLst/>
                <a:gdLst>
                  <a:gd name="connsiteX0" fmla="*/ 65613 w 134236"/>
                  <a:gd name="connsiteY0" fmla="*/ 15 h 134236"/>
                  <a:gd name="connsiteX1" fmla="*/ 15 w 134236"/>
                  <a:gd name="connsiteY1" fmla="*/ 68624 h 134236"/>
                  <a:gd name="connsiteX2" fmla="*/ 68624 w 134236"/>
                  <a:gd name="connsiteY2" fmla="*/ 134221 h 134236"/>
                  <a:gd name="connsiteX3" fmla="*/ 134221 w 134236"/>
                  <a:gd name="connsiteY3" fmla="*/ 65612 h 134236"/>
                  <a:gd name="connsiteX4" fmla="*/ 65613 w 134236"/>
                  <a:gd name="connsiteY4" fmla="*/ 15 h 134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236" h="134236">
                    <a:moveTo>
                      <a:pt x="65613" y="15"/>
                    </a:moveTo>
                    <a:cubicBezTo>
                      <a:pt x="28559" y="932"/>
                      <a:pt x="-770" y="31570"/>
                      <a:pt x="15" y="68624"/>
                    </a:cubicBezTo>
                    <a:cubicBezTo>
                      <a:pt x="932" y="105678"/>
                      <a:pt x="31570" y="135007"/>
                      <a:pt x="68624" y="134221"/>
                    </a:cubicBezTo>
                    <a:cubicBezTo>
                      <a:pt x="105678" y="133304"/>
                      <a:pt x="135007" y="102666"/>
                      <a:pt x="134221" y="65612"/>
                    </a:cubicBezTo>
                    <a:cubicBezTo>
                      <a:pt x="133436" y="28559"/>
                      <a:pt x="102666" y="-770"/>
                      <a:pt x="65613" y="15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4" name="图形 7"/>
            <p:cNvGrpSpPr/>
            <p:nvPr/>
          </p:nvGrpSpPr>
          <p:grpSpPr>
            <a:xfrm>
              <a:off x="6231399" y="263194"/>
              <a:ext cx="2494293" cy="2207813"/>
              <a:chOff x="6231399" y="263194"/>
              <a:chExt cx="2494293" cy="2207813"/>
            </a:xfrm>
            <a:solidFill>
              <a:schemeClr val="accent1"/>
            </a:solidFill>
          </p:grpSpPr>
          <p:grpSp>
            <p:nvGrpSpPr>
              <p:cNvPr id="52" name="图形 7"/>
              <p:cNvGrpSpPr/>
              <p:nvPr/>
            </p:nvGrpSpPr>
            <p:grpSpPr>
              <a:xfrm>
                <a:off x="6231399" y="263194"/>
                <a:ext cx="2494293" cy="2207813"/>
                <a:chOff x="6231399" y="263194"/>
                <a:chExt cx="2494293" cy="2207813"/>
              </a:xfrm>
              <a:solidFill>
                <a:schemeClr val="accent1"/>
              </a:solidFill>
            </p:grpSpPr>
            <p:sp>
              <p:nvSpPr>
                <p:cNvPr id="55" name="îṥ1iḑê"/>
                <p:cNvSpPr/>
                <p:nvPr/>
              </p:nvSpPr>
              <p:spPr>
                <a:xfrm>
                  <a:off x="6231399" y="263194"/>
                  <a:ext cx="2494293" cy="2207813"/>
                </a:xfrm>
                <a:custGeom>
                  <a:avLst/>
                  <a:gdLst>
                    <a:gd name="connsiteX0" fmla="*/ 2295277 w 2494293"/>
                    <a:gd name="connsiteY0" fmla="*/ 199050 h 2207813"/>
                    <a:gd name="connsiteX1" fmla="*/ 2295277 w 2494293"/>
                    <a:gd name="connsiteY1" fmla="*/ 199050 h 2207813"/>
                    <a:gd name="connsiteX2" fmla="*/ 1334364 w 2494293"/>
                    <a:gd name="connsiteY2" fmla="*/ 199050 h 2207813"/>
                    <a:gd name="connsiteX3" fmla="*/ 1247163 w 2494293"/>
                    <a:gd name="connsiteY3" fmla="*/ 286251 h 2207813"/>
                    <a:gd name="connsiteX4" fmla="*/ 1159962 w 2494293"/>
                    <a:gd name="connsiteY4" fmla="*/ 199050 h 2207813"/>
                    <a:gd name="connsiteX5" fmla="*/ 199050 w 2494293"/>
                    <a:gd name="connsiteY5" fmla="*/ 199050 h 2207813"/>
                    <a:gd name="connsiteX6" fmla="*/ 199050 w 2494293"/>
                    <a:gd name="connsiteY6" fmla="*/ 199050 h 2207813"/>
                    <a:gd name="connsiteX7" fmla="*/ 199050 w 2494293"/>
                    <a:gd name="connsiteY7" fmla="*/ 1159963 h 2207813"/>
                    <a:gd name="connsiteX8" fmla="*/ 1246901 w 2494293"/>
                    <a:gd name="connsiteY8" fmla="*/ 2207814 h 2207813"/>
                    <a:gd name="connsiteX9" fmla="*/ 1247033 w 2494293"/>
                    <a:gd name="connsiteY9" fmla="*/ 2207683 h 2207813"/>
                    <a:gd name="connsiteX10" fmla="*/ 1247163 w 2494293"/>
                    <a:gd name="connsiteY10" fmla="*/ 2207814 h 2207813"/>
                    <a:gd name="connsiteX11" fmla="*/ 2295015 w 2494293"/>
                    <a:gd name="connsiteY11" fmla="*/ 1159963 h 2207813"/>
                    <a:gd name="connsiteX12" fmla="*/ 2295277 w 2494293"/>
                    <a:gd name="connsiteY12" fmla="*/ 199050 h 2207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494293" h="2207813">
                      <a:moveTo>
                        <a:pt x="2295277" y="199050"/>
                      </a:moveTo>
                      <a:lnTo>
                        <a:pt x="2295277" y="199050"/>
                      </a:lnTo>
                      <a:cubicBezTo>
                        <a:pt x="2029877" y="-66350"/>
                        <a:pt x="1599764" y="-66350"/>
                        <a:pt x="1334364" y="199050"/>
                      </a:cubicBezTo>
                      <a:lnTo>
                        <a:pt x="1247163" y="286251"/>
                      </a:lnTo>
                      <a:lnTo>
                        <a:pt x="1159962" y="199050"/>
                      </a:lnTo>
                      <a:cubicBezTo>
                        <a:pt x="894562" y="-66350"/>
                        <a:pt x="464450" y="-66350"/>
                        <a:pt x="199050" y="199050"/>
                      </a:cubicBezTo>
                      <a:lnTo>
                        <a:pt x="199050" y="199050"/>
                      </a:lnTo>
                      <a:cubicBezTo>
                        <a:pt x="-66350" y="464450"/>
                        <a:pt x="-66350" y="894562"/>
                        <a:pt x="199050" y="1159963"/>
                      </a:cubicBezTo>
                      <a:lnTo>
                        <a:pt x="1246901" y="2207814"/>
                      </a:lnTo>
                      <a:lnTo>
                        <a:pt x="1247033" y="2207683"/>
                      </a:lnTo>
                      <a:lnTo>
                        <a:pt x="1247163" y="2207814"/>
                      </a:lnTo>
                      <a:lnTo>
                        <a:pt x="2295015" y="1159963"/>
                      </a:lnTo>
                      <a:cubicBezTo>
                        <a:pt x="2560677" y="894562"/>
                        <a:pt x="2560677" y="464319"/>
                        <a:pt x="2295277" y="199050"/>
                      </a:cubicBezTo>
                      <a:close/>
                    </a:path>
                  </a:pathLst>
                </a:custGeom>
                <a:solidFill>
                  <a:srgbClr val="EF4A50"/>
                </a:solidFill>
                <a:ln w="130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6" name="îŝḻîḑè"/>
                <p:cNvSpPr/>
                <p:nvPr/>
              </p:nvSpPr>
              <p:spPr>
                <a:xfrm>
                  <a:off x="7087205" y="883846"/>
                  <a:ext cx="782975" cy="783106"/>
                </a:xfrm>
                <a:custGeom>
                  <a:avLst/>
                  <a:gdLst>
                    <a:gd name="connsiteX0" fmla="*/ 782975 w 782975"/>
                    <a:gd name="connsiteY0" fmla="*/ 270637 h 783106"/>
                    <a:gd name="connsiteX1" fmla="*/ 512338 w 782975"/>
                    <a:gd name="connsiteY1" fmla="*/ 270637 h 783106"/>
                    <a:gd name="connsiteX2" fmla="*/ 512338 w 782975"/>
                    <a:gd name="connsiteY2" fmla="*/ 0 h 783106"/>
                    <a:gd name="connsiteX3" fmla="*/ 270637 w 782975"/>
                    <a:gd name="connsiteY3" fmla="*/ 0 h 783106"/>
                    <a:gd name="connsiteX4" fmla="*/ 270637 w 782975"/>
                    <a:gd name="connsiteY4" fmla="*/ 270637 h 783106"/>
                    <a:gd name="connsiteX5" fmla="*/ 0 w 782975"/>
                    <a:gd name="connsiteY5" fmla="*/ 270637 h 783106"/>
                    <a:gd name="connsiteX6" fmla="*/ 0 w 782975"/>
                    <a:gd name="connsiteY6" fmla="*/ 512469 h 783106"/>
                    <a:gd name="connsiteX7" fmla="*/ 270637 w 782975"/>
                    <a:gd name="connsiteY7" fmla="*/ 512469 h 783106"/>
                    <a:gd name="connsiteX8" fmla="*/ 270637 w 782975"/>
                    <a:gd name="connsiteY8" fmla="*/ 783106 h 783106"/>
                    <a:gd name="connsiteX9" fmla="*/ 512338 w 782975"/>
                    <a:gd name="connsiteY9" fmla="*/ 783106 h 783106"/>
                    <a:gd name="connsiteX10" fmla="*/ 512338 w 782975"/>
                    <a:gd name="connsiteY10" fmla="*/ 512469 h 783106"/>
                    <a:gd name="connsiteX11" fmla="*/ 782975 w 782975"/>
                    <a:gd name="connsiteY11" fmla="*/ 512469 h 7831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782975" h="783106">
                      <a:moveTo>
                        <a:pt x="782975" y="270637"/>
                      </a:moveTo>
                      <a:lnTo>
                        <a:pt x="512338" y="270637"/>
                      </a:lnTo>
                      <a:lnTo>
                        <a:pt x="512338" y="0"/>
                      </a:lnTo>
                      <a:lnTo>
                        <a:pt x="270637" y="0"/>
                      </a:lnTo>
                      <a:lnTo>
                        <a:pt x="270637" y="270637"/>
                      </a:lnTo>
                      <a:lnTo>
                        <a:pt x="0" y="270637"/>
                      </a:lnTo>
                      <a:lnTo>
                        <a:pt x="0" y="512469"/>
                      </a:lnTo>
                      <a:lnTo>
                        <a:pt x="270637" y="512469"/>
                      </a:lnTo>
                      <a:lnTo>
                        <a:pt x="270637" y="783106"/>
                      </a:lnTo>
                      <a:lnTo>
                        <a:pt x="512338" y="783106"/>
                      </a:lnTo>
                      <a:lnTo>
                        <a:pt x="512338" y="512469"/>
                      </a:lnTo>
                      <a:lnTo>
                        <a:pt x="782975" y="51246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30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3" name="ïṧľiḍe"/>
              <p:cNvSpPr/>
              <p:nvPr/>
            </p:nvSpPr>
            <p:spPr>
              <a:xfrm>
                <a:off x="6430006" y="358819"/>
                <a:ext cx="557159" cy="550932"/>
              </a:xfrm>
              <a:custGeom>
                <a:avLst/>
                <a:gdLst>
                  <a:gd name="connsiteX0" fmla="*/ 311669 w 557159"/>
                  <a:gd name="connsiteY0" fmla="*/ 230298 h 550932"/>
                  <a:gd name="connsiteX1" fmla="*/ 320703 w 557159"/>
                  <a:gd name="connsiteY1" fmla="*/ 224668 h 550932"/>
                  <a:gd name="connsiteX2" fmla="*/ 548394 w 557159"/>
                  <a:gd name="connsiteY2" fmla="*/ 39006 h 550932"/>
                  <a:gd name="connsiteX3" fmla="*/ 227217 w 557159"/>
                  <a:gd name="connsiteY3" fmla="*/ 93997 h 550932"/>
                  <a:gd name="connsiteX4" fmla="*/ 5287 w 557159"/>
                  <a:gd name="connsiteY4" fmla="*/ 426958 h 550932"/>
                  <a:gd name="connsiteX5" fmla="*/ 147480 w 557159"/>
                  <a:gd name="connsiteY5" fmla="*/ 476320 h 550932"/>
                  <a:gd name="connsiteX6" fmla="*/ 311669 w 557159"/>
                  <a:gd name="connsiteY6" fmla="*/ 230298 h 550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7159" h="550932">
                    <a:moveTo>
                      <a:pt x="311669" y="230298"/>
                    </a:moveTo>
                    <a:cubicBezTo>
                      <a:pt x="314680" y="228334"/>
                      <a:pt x="317561" y="226501"/>
                      <a:pt x="320703" y="224668"/>
                    </a:cubicBezTo>
                    <a:cubicBezTo>
                      <a:pt x="379885" y="189316"/>
                      <a:pt x="603910" y="148989"/>
                      <a:pt x="548394" y="39006"/>
                    </a:cubicBezTo>
                    <a:cubicBezTo>
                      <a:pt x="498771" y="-59455"/>
                      <a:pt x="283780" y="54849"/>
                      <a:pt x="227217" y="93997"/>
                    </a:cubicBezTo>
                    <a:cubicBezTo>
                      <a:pt x="113699" y="172557"/>
                      <a:pt x="38937" y="294193"/>
                      <a:pt x="5287" y="426958"/>
                    </a:cubicBezTo>
                    <a:cubicBezTo>
                      <a:pt x="-28755" y="561164"/>
                      <a:pt x="111342" y="599527"/>
                      <a:pt x="147480" y="476320"/>
                    </a:cubicBezTo>
                    <a:cubicBezTo>
                      <a:pt x="175106" y="382048"/>
                      <a:pt x="225123" y="286337"/>
                      <a:pt x="311669" y="230298"/>
                    </a:cubicBezTo>
                    <a:close/>
                  </a:path>
                </a:pathLst>
              </a:custGeom>
              <a:solidFill>
                <a:srgbClr val="FFFFFF">
                  <a:alpha val="30000"/>
                </a:srgbClr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îṧḷiďe"/>
              <p:cNvSpPr/>
              <p:nvPr/>
            </p:nvSpPr>
            <p:spPr>
              <a:xfrm>
                <a:off x="6359483" y="975499"/>
                <a:ext cx="172830" cy="172830"/>
              </a:xfrm>
              <a:custGeom>
                <a:avLst/>
                <a:gdLst>
                  <a:gd name="connsiteX0" fmla="*/ 172831 w 172830"/>
                  <a:gd name="connsiteY0" fmla="*/ 86415 h 172830"/>
                  <a:gd name="connsiteX1" fmla="*/ 86415 w 172830"/>
                  <a:gd name="connsiteY1" fmla="*/ 172831 h 172830"/>
                  <a:gd name="connsiteX2" fmla="*/ 0 w 172830"/>
                  <a:gd name="connsiteY2" fmla="*/ 86415 h 172830"/>
                  <a:gd name="connsiteX3" fmla="*/ 86415 w 172830"/>
                  <a:gd name="connsiteY3" fmla="*/ 0 h 172830"/>
                  <a:gd name="connsiteX4" fmla="*/ 172831 w 172830"/>
                  <a:gd name="connsiteY4" fmla="*/ 86415 h 17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2830" h="172830">
                    <a:moveTo>
                      <a:pt x="172831" y="86415"/>
                    </a:moveTo>
                    <a:cubicBezTo>
                      <a:pt x="172831" y="134141"/>
                      <a:pt x="134141" y="172831"/>
                      <a:pt x="86415" y="172831"/>
                    </a:cubicBezTo>
                    <a:cubicBezTo>
                      <a:pt x="38689" y="172831"/>
                      <a:pt x="0" y="134141"/>
                      <a:pt x="0" y="86415"/>
                    </a:cubicBezTo>
                    <a:cubicBezTo>
                      <a:pt x="0" y="38689"/>
                      <a:pt x="38689" y="0"/>
                      <a:pt x="86415" y="0"/>
                    </a:cubicBezTo>
                    <a:cubicBezTo>
                      <a:pt x="134141" y="0"/>
                      <a:pt x="172831" y="38689"/>
                      <a:pt x="172831" y="86415"/>
                    </a:cubicBezTo>
                    <a:close/>
                  </a:path>
                </a:pathLst>
              </a:custGeom>
              <a:solidFill>
                <a:srgbClr val="FFFFFF">
                  <a:alpha val="30000"/>
                </a:srgbClr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5" name="图形 7"/>
            <p:cNvGrpSpPr/>
            <p:nvPr/>
          </p:nvGrpSpPr>
          <p:grpSpPr>
            <a:xfrm>
              <a:off x="7670884" y="1541630"/>
              <a:ext cx="1319631" cy="736915"/>
              <a:chOff x="7670884" y="1541630"/>
              <a:chExt cx="1319631" cy="736915"/>
            </a:xfrm>
            <a:solidFill>
              <a:srgbClr val="FFFFFF"/>
            </a:solidFill>
          </p:grpSpPr>
          <p:sp>
            <p:nvSpPr>
              <p:cNvPr id="28" name="ísḷïdè"/>
              <p:cNvSpPr/>
              <p:nvPr/>
            </p:nvSpPr>
            <p:spPr>
              <a:xfrm>
                <a:off x="8346882" y="1923437"/>
                <a:ext cx="70692" cy="38680"/>
              </a:xfrm>
              <a:custGeom>
                <a:avLst/>
                <a:gdLst>
                  <a:gd name="connsiteX0" fmla="*/ 14818 w 70692"/>
                  <a:gd name="connsiteY0" fmla="*/ 37851 h 38680"/>
                  <a:gd name="connsiteX1" fmla="*/ 34720 w 70692"/>
                  <a:gd name="connsiteY1" fmla="*/ 38636 h 38680"/>
                  <a:gd name="connsiteX2" fmla="*/ 56847 w 70692"/>
                  <a:gd name="connsiteY2" fmla="*/ 37065 h 38680"/>
                  <a:gd name="connsiteX3" fmla="*/ 53312 w 70692"/>
                  <a:gd name="connsiteY3" fmla="*/ 273 h 38680"/>
                  <a:gd name="connsiteX4" fmla="*/ 31185 w 70692"/>
                  <a:gd name="connsiteY4" fmla="*/ 2499 h 38680"/>
                  <a:gd name="connsiteX5" fmla="*/ 11676 w 70692"/>
                  <a:gd name="connsiteY5" fmla="*/ 6558 h 38680"/>
                  <a:gd name="connsiteX6" fmla="*/ 14818 w 70692"/>
                  <a:gd name="connsiteY6" fmla="*/ 37851 h 38680"/>
                  <a:gd name="connsiteX7" fmla="*/ 14818 w 70692"/>
                  <a:gd name="connsiteY7" fmla="*/ 37851 h 38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0692" h="38680">
                    <a:moveTo>
                      <a:pt x="14818" y="37851"/>
                    </a:moveTo>
                    <a:cubicBezTo>
                      <a:pt x="21496" y="38636"/>
                      <a:pt x="28043" y="38768"/>
                      <a:pt x="34720" y="38636"/>
                    </a:cubicBezTo>
                    <a:cubicBezTo>
                      <a:pt x="42052" y="38506"/>
                      <a:pt x="49908" y="39291"/>
                      <a:pt x="56847" y="37065"/>
                    </a:cubicBezTo>
                    <a:cubicBezTo>
                      <a:pt x="77273" y="30519"/>
                      <a:pt x="74262" y="3285"/>
                      <a:pt x="53312" y="273"/>
                    </a:cubicBezTo>
                    <a:cubicBezTo>
                      <a:pt x="46242" y="-774"/>
                      <a:pt x="38386" y="1452"/>
                      <a:pt x="31185" y="2499"/>
                    </a:cubicBezTo>
                    <a:cubicBezTo>
                      <a:pt x="24507" y="3547"/>
                      <a:pt x="18092" y="4725"/>
                      <a:pt x="11676" y="6558"/>
                    </a:cubicBezTo>
                    <a:cubicBezTo>
                      <a:pt x="-5607" y="11664"/>
                      <a:pt x="-2989" y="35756"/>
                      <a:pt x="14818" y="37851"/>
                    </a:cubicBezTo>
                    <a:lnTo>
                      <a:pt x="14818" y="37851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" name="íSļíḑé"/>
              <p:cNvSpPr/>
              <p:nvPr/>
            </p:nvSpPr>
            <p:spPr>
              <a:xfrm>
                <a:off x="8500013" y="2023205"/>
                <a:ext cx="51685" cy="38957"/>
              </a:xfrm>
              <a:custGeom>
                <a:avLst/>
                <a:gdLst>
                  <a:gd name="connsiteX0" fmla="*/ 7023 w 51685"/>
                  <a:gd name="connsiteY0" fmla="*/ 29474 h 38957"/>
                  <a:gd name="connsiteX1" fmla="*/ 32424 w 51685"/>
                  <a:gd name="connsiteY1" fmla="*/ 38901 h 38957"/>
                  <a:gd name="connsiteX2" fmla="*/ 51409 w 51685"/>
                  <a:gd name="connsiteY2" fmla="*/ 23451 h 38957"/>
                  <a:gd name="connsiteX3" fmla="*/ 38839 w 51685"/>
                  <a:gd name="connsiteY3" fmla="*/ 2501 h 38957"/>
                  <a:gd name="connsiteX4" fmla="*/ 11867 w 51685"/>
                  <a:gd name="connsiteY4" fmla="*/ 1323 h 38957"/>
                  <a:gd name="connsiteX5" fmla="*/ 214 w 51685"/>
                  <a:gd name="connsiteY5" fmla="*/ 13761 h 38957"/>
                  <a:gd name="connsiteX6" fmla="*/ 7023 w 51685"/>
                  <a:gd name="connsiteY6" fmla="*/ 29474 h 38957"/>
                  <a:gd name="connsiteX7" fmla="*/ 7023 w 51685"/>
                  <a:gd name="connsiteY7" fmla="*/ 29474 h 38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685" h="38957">
                    <a:moveTo>
                      <a:pt x="7023" y="29474"/>
                    </a:moveTo>
                    <a:cubicBezTo>
                      <a:pt x="13569" y="34711"/>
                      <a:pt x="24175" y="38246"/>
                      <a:pt x="32424" y="38901"/>
                    </a:cubicBezTo>
                    <a:cubicBezTo>
                      <a:pt x="41720" y="39686"/>
                      <a:pt x="49837" y="32223"/>
                      <a:pt x="51409" y="23451"/>
                    </a:cubicBezTo>
                    <a:cubicBezTo>
                      <a:pt x="52980" y="14154"/>
                      <a:pt x="47742" y="5644"/>
                      <a:pt x="38839" y="2501"/>
                    </a:cubicBezTo>
                    <a:cubicBezTo>
                      <a:pt x="30983" y="-379"/>
                      <a:pt x="19854" y="-772"/>
                      <a:pt x="11867" y="1323"/>
                    </a:cubicBezTo>
                    <a:cubicBezTo>
                      <a:pt x="5844" y="2894"/>
                      <a:pt x="1262" y="7608"/>
                      <a:pt x="214" y="13761"/>
                    </a:cubicBezTo>
                    <a:cubicBezTo>
                      <a:pt x="-833" y="20177"/>
                      <a:pt x="2047" y="25415"/>
                      <a:pt x="7023" y="29474"/>
                    </a:cubicBezTo>
                    <a:lnTo>
                      <a:pt x="7023" y="29474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" name="í$liḑê"/>
              <p:cNvSpPr/>
              <p:nvPr/>
            </p:nvSpPr>
            <p:spPr>
              <a:xfrm>
                <a:off x="8533198" y="1931604"/>
                <a:ext cx="59823" cy="36504"/>
              </a:xfrm>
              <a:custGeom>
                <a:avLst/>
                <a:gdLst>
                  <a:gd name="connsiteX0" fmla="*/ 13903 w 59823"/>
                  <a:gd name="connsiteY0" fmla="*/ 36231 h 36504"/>
                  <a:gd name="connsiteX1" fmla="*/ 28829 w 59823"/>
                  <a:gd name="connsiteY1" fmla="*/ 36362 h 36504"/>
                  <a:gd name="connsiteX2" fmla="*/ 46374 w 59823"/>
                  <a:gd name="connsiteY2" fmla="*/ 34922 h 36504"/>
                  <a:gd name="connsiteX3" fmla="*/ 59730 w 59823"/>
                  <a:gd name="connsiteY3" fmla="*/ 16068 h 36504"/>
                  <a:gd name="connsiteX4" fmla="*/ 43101 w 59823"/>
                  <a:gd name="connsiteY4" fmla="*/ 94 h 36504"/>
                  <a:gd name="connsiteX5" fmla="*/ 11023 w 59823"/>
                  <a:gd name="connsiteY5" fmla="*/ 6640 h 36504"/>
                  <a:gd name="connsiteX6" fmla="*/ 13903 w 59823"/>
                  <a:gd name="connsiteY6" fmla="*/ 36231 h 36504"/>
                  <a:gd name="connsiteX7" fmla="*/ 13903 w 59823"/>
                  <a:gd name="connsiteY7" fmla="*/ 36231 h 36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823" h="36504">
                    <a:moveTo>
                      <a:pt x="13903" y="36231"/>
                    </a:moveTo>
                    <a:cubicBezTo>
                      <a:pt x="18879" y="36493"/>
                      <a:pt x="23854" y="36624"/>
                      <a:pt x="28829" y="36362"/>
                    </a:cubicBezTo>
                    <a:cubicBezTo>
                      <a:pt x="34590" y="36231"/>
                      <a:pt x="41006" y="36624"/>
                      <a:pt x="46374" y="34922"/>
                    </a:cubicBezTo>
                    <a:cubicBezTo>
                      <a:pt x="54754" y="32172"/>
                      <a:pt x="60646" y="25364"/>
                      <a:pt x="59730" y="16068"/>
                    </a:cubicBezTo>
                    <a:cubicBezTo>
                      <a:pt x="58944" y="7295"/>
                      <a:pt x="51874" y="748"/>
                      <a:pt x="43101" y="94"/>
                    </a:cubicBezTo>
                    <a:cubicBezTo>
                      <a:pt x="32758" y="-692"/>
                      <a:pt x="20843" y="3629"/>
                      <a:pt x="11023" y="6640"/>
                    </a:cubicBezTo>
                    <a:cubicBezTo>
                      <a:pt x="-4558" y="11485"/>
                      <a:pt x="-3642" y="35445"/>
                      <a:pt x="13903" y="36231"/>
                    </a:cubicBezTo>
                    <a:lnTo>
                      <a:pt x="13903" y="36231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" name="işlïḑê"/>
              <p:cNvSpPr/>
              <p:nvPr/>
            </p:nvSpPr>
            <p:spPr>
              <a:xfrm>
                <a:off x="8351754" y="1774657"/>
                <a:ext cx="47148" cy="36634"/>
              </a:xfrm>
              <a:custGeom>
                <a:avLst/>
                <a:gdLst>
                  <a:gd name="connsiteX0" fmla="*/ 5495 w 47148"/>
                  <a:gd name="connsiteY0" fmla="*/ 27941 h 36634"/>
                  <a:gd name="connsiteX1" fmla="*/ 23433 w 47148"/>
                  <a:gd name="connsiteY1" fmla="*/ 35666 h 36634"/>
                  <a:gd name="connsiteX2" fmla="*/ 47132 w 47148"/>
                  <a:gd name="connsiteY2" fmla="*/ 19038 h 36634"/>
                  <a:gd name="connsiteX3" fmla="*/ 24873 w 47148"/>
                  <a:gd name="connsiteY3" fmla="*/ 576 h 36634"/>
                  <a:gd name="connsiteX4" fmla="*/ 6412 w 47148"/>
                  <a:gd name="connsiteY4" fmla="*/ 6861 h 36634"/>
                  <a:gd name="connsiteX5" fmla="*/ 5495 w 47148"/>
                  <a:gd name="connsiteY5" fmla="*/ 27941 h 36634"/>
                  <a:gd name="connsiteX6" fmla="*/ 5495 w 47148"/>
                  <a:gd name="connsiteY6" fmla="*/ 27941 h 36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148" h="36634">
                    <a:moveTo>
                      <a:pt x="5495" y="27941"/>
                    </a:moveTo>
                    <a:cubicBezTo>
                      <a:pt x="11125" y="31345"/>
                      <a:pt x="17279" y="33440"/>
                      <a:pt x="23433" y="35666"/>
                    </a:cubicBezTo>
                    <a:cubicBezTo>
                      <a:pt x="34562" y="39725"/>
                      <a:pt x="46608" y="30429"/>
                      <a:pt x="47132" y="19038"/>
                    </a:cubicBezTo>
                    <a:cubicBezTo>
                      <a:pt x="47655" y="7647"/>
                      <a:pt x="36264" y="-2566"/>
                      <a:pt x="24873" y="576"/>
                    </a:cubicBezTo>
                    <a:cubicBezTo>
                      <a:pt x="18588" y="2278"/>
                      <a:pt x="12303" y="3849"/>
                      <a:pt x="6412" y="6861"/>
                    </a:cubicBezTo>
                    <a:cubicBezTo>
                      <a:pt x="-1706" y="10920"/>
                      <a:pt x="-2230" y="23228"/>
                      <a:pt x="5495" y="27941"/>
                    </a:cubicBezTo>
                    <a:lnTo>
                      <a:pt x="5495" y="27941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" name="ï$ḻíḋe"/>
              <p:cNvSpPr/>
              <p:nvPr/>
            </p:nvSpPr>
            <p:spPr>
              <a:xfrm>
                <a:off x="8148191" y="1838787"/>
                <a:ext cx="46765" cy="43807"/>
              </a:xfrm>
              <a:custGeom>
                <a:avLst/>
                <a:gdLst>
                  <a:gd name="connsiteX0" fmla="*/ 352 w 46765"/>
                  <a:gd name="connsiteY0" fmla="*/ 11732 h 43807"/>
                  <a:gd name="connsiteX1" fmla="*/ 1923 w 46765"/>
                  <a:gd name="connsiteY1" fmla="*/ 18279 h 43807"/>
                  <a:gd name="connsiteX2" fmla="*/ 7815 w 46765"/>
                  <a:gd name="connsiteY2" fmla="*/ 28884 h 43807"/>
                  <a:gd name="connsiteX3" fmla="*/ 24312 w 46765"/>
                  <a:gd name="connsiteY3" fmla="*/ 42763 h 43807"/>
                  <a:gd name="connsiteX4" fmla="*/ 44738 w 46765"/>
                  <a:gd name="connsiteY4" fmla="*/ 18410 h 43807"/>
                  <a:gd name="connsiteX5" fmla="*/ 28371 w 46765"/>
                  <a:gd name="connsiteY5" fmla="*/ 4531 h 43807"/>
                  <a:gd name="connsiteX6" fmla="*/ 17504 w 46765"/>
                  <a:gd name="connsiteY6" fmla="*/ 603 h 43807"/>
                  <a:gd name="connsiteX7" fmla="*/ 12921 w 46765"/>
                  <a:gd name="connsiteY7" fmla="*/ 472 h 43807"/>
                  <a:gd name="connsiteX8" fmla="*/ 10303 w 46765"/>
                  <a:gd name="connsiteY8" fmla="*/ 80 h 43807"/>
                  <a:gd name="connsiteX9" fmla="*/ 352 w 46765"/>
                  <a:gd name="connsiteY9" fmla="*/ 11732 h 43807"/>
                  <a:gd name="connsiteX10" fmla="*/ 352 w 46765"/>
                  <a:gd name="connsiteY10" fmla="*/ 11732 h 43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6765" h="43807">
                    <a:moveTo>
                      <a:pt x="352" y="11732"/>
                    </a:moveTo>
                    <a:cubicBezTo>
                      <a:pt x="876" y="13566"/>
                      <a:pt x="1137" y="15660"/>
                      <a:pt x="1923" y="18279"/>
                    </a:cubicBezTo>
                    <a:cubicBezTo>
                      <a:pt x="3101" y="22469"/>
                      <a:pt x="5196" y="25349"/>
                      <a:pt x="7815" y="28884"/>
                    </a:cubicBezTo>
                    <a:cubicBezTo>
                      <a:pt x="12528" y="35038"/>
                      <a:pt x="16849" y="39883"/>
                      <a:pt x="24312" y="42763"/>
                    </a:cubicBezTo>
                    <a:cubicBezTo>
                      <a:pt x="38191" y="48263"/>
                      <a:pt x="52070" y="30848"/>
                      <a:pt x="44738" y="18410"/>
                    </a:cubicBezTo>
                    <a:cubicBezTo>
                      <a:pt x="40679" y="11601"/>
                      <a:pt x="35180" y="8066"/>
                      <a:pt x="28371" y="4531"/>
                    </a:cubicBezTo>
                    <a:cubicBezTo>
                      <a:pt x="24836" y="2698"/>
                      <a:pt x="21563" y="1127"/>
                      <a:pt x="17504" y="603"/>
                    </a:cubicBezTo>
                    <a:cubicBezTo>
                      <a:pt x="15933" y="341"/>
                      <a:pt x="14362" y="472"/>
                      <a:pt x="12921" y="472"/>
                    </a:cubicBezTo>
                    <a:cubicBezTo>
                      <a:pt x="8077" y="472"/>
                      <a:pt x="14492" y="734"/>
                      <a:pt x="10303" y="80"/>
                    </a:cubicBezTo>
                    <a:cubicBezTo>
                      <a:pt x="4149" y="-837"/>
                      <a:pt x="-1481" y="6364"/>
                      <a:pt x="352" y="11732"/>
                    </a:cubicBezTo>
                    <a:lnTo>
                      <a:pt x="352" y="11732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" name="íṥļïḑè"/>
              <p:cNvSpPr/>
              <p:nvPr/>
            </p:nvSpPr>
            <p:spPr>
              <a:xfrm>
                <a:off x="8141797" y="2056009"/>
                <a:ext cx="47193" cy="53154"/>
              </a:xfrm>
              <a:custGeom>
                <a:avLst/>
                <a:gdLst>
                  <a:gd name="connsiteX0" fmla="*/ 1770 w 47193"/>
                  <a:gd name="connsiteY0" fmla="*/ 23380 h 53154"/>
                  <a:gd name="connsiteX1" fmla="*/ 19315 w 47193"/>
                  <a:gd name="connsiteY1" fmla="*/ 50221 h 53154"/>
                  <a:gd name="connsiteX2" fmla="*/ 46680 w 47193"/>
                  <a:gd name="connsiteY2" fmla="*/ 30843 h 53154"/>
                  <a:gd name="connsiteX3" fmla="*/ 27564 w 47193"/>
                  <a:gd name="connsiteY3" fmla="*/ 5050 h 53154"/>
                  <a:gd name="connsiteX4" fmla="*/ 6615 w 47193"/>
                  <a:gd name="connsiteY4" fmla="*/ 2955 h 53154"/>
                  <a:gd name="connsiteX5" fmla="*/ 1770 w 47193"/>
                  <a:gd name="connsiteY5" fmla="*/ 23380 h 53154"/>
                  <a:gd name="connsiteX6" fmla="*/ 1770 w 47193"/>
                  <a:gd name="connsiteY6" fmla="*/ 23380 h 53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193" h="53154">
                    <a:moveTo>
                      <a:pt x="1770" y="23380"/>
                    </a:moveTo>
                    <a:cubicBezTo>
                      <a:pt x="6484" y="32938"/>
                      <a:pt x="10150" y="43937"/>
                      <a:pt x="19315" y="50221"/>
                    </a:cubicBezTo>
                    <a:cubicBezTo>
                      <a:pt x="32408" y="59256"/>
                      <a:pt x="50477" y="45901"/>
                      <a:pt x="46680" y="30843"/>
                    </a:cubicBezTo>
                    <a:cubicBezTo>
                      <a:pt x="44061" y="20369"/>
                      <a:pt x="34765" y="12644"/>
                      <a:pt x="27564" y="5050"/>
                    </a:cubicBezTo>
                    <a:cubicBezTo>
                      <a:pt x="22064" y="-842"/>
                      <a:pt x="13161" y="-1628"/>
                      <a:pt x="6615" y="2955"/>
                    </a:cubicBezTo>
                    <a:cubicBezTo>
                      <a:pt x="68" y="7537"/>
                      <a:pt x="-1765" y="16048"/>
                      <a:pt x="1770" y="23380"/>
                    </a:cubicBezTo>
                    <a:lnTo>
                      <a:pt x="1770" y="23380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4" name="iṧḷîḋé"/>
              <p:cNvSpPr/>
              <p:nvPr/>
            </p:nvSpPr>
            <p:spPr>
              <a:xfrm>
                <a:off x="8289818" y="2031905"/>
                <a:ext cx="45471" cy="45404"/>
              </a:xfrm>
              <a:custGeom>
                <a:avLst/>
                <a:gdLst>
                  <a:gd name="connsiteX0" fmla="*/ 16629 w 45471"/>
                  <a:gd name="connsiteY0" fmla="*/ 35308 h 45404"/>
                  <a:gd name="connsiteX1" fmla="*/ 11392 w 45471"/>
                  <a:gd name="connsiteY1" fmla="*/ 33213 h 45404"/>
                  <a:gd name="connsiteX2" fmla="*/ 9297 w 45471"/>
                  <a:gd name="connsiteY2" fmla="*/ 31380 h 45404"/>
                  <a:gd name="connsiteX3" fmla="*/ 9166 w 45471"/>
                  <a:gd name="connsiteY3" fmla="*/ 30987 h 45404"/>
                  <a:gd name="connsiteX4" fmla="*/ 7856 w 45471"/>
                  <a:gd name="connsiteY4" fmla="*/ 28499 h 45404"/>
                  <a:gd name="connsiteX5" fmla="*/ 7463 w 45471"/>
                  <a:gd name="connsiteY5" fmla="*/ 27582 h 45404"/>
                  <a:gd name="connsiteX6" fmla="*/ 7202 w 45471"/>
                  <a:gd name="connsiteY6" fmla="*/ 25881 h 45404"/>
                  <a:gd name="connsiteX7" fmla="*/ 22914 w 45471"/>
                  <a:gd name="connsiteY7" fmla="*/ 45128 h 45404"/>
                  <a:gd name="connsiteX8" fmla="*/ 44255 w 45471"/>
                  <a:gd name="connsiteY8" fmla="*/ 32427 h 45404"/>
                  <a:gd name="connsiteX9" fmla="*/ 9166 w 45471"/>
                  <a:gd name="connsiteY9" fmla="*/ 3098 h 45404"/>
                  <a:gd name="connsiteX10" fmla="*/ 524 w 45471"/>
                  <a:gd name="connsiteY10" fmla="*/ 22084 h 45404"/>
                  <a:gd name="connsiteX11" fmla="*/ 16629 w 45471"/>
                  <a:gd name="connsiteY11" fmla="*/ 35308 h 45404"/>
                  <a:gd name="connsiteX12" fmla="*/ 16629 w 45471"/>
                  <a:gd name="connsiteY12" fmla="*/ 35308 h 45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5471" h="45404">
                    <a:moveTo>
                      <a:pt x="16629" y="35308"/>
                    </a:moveTo>
                    <a:cubicBezTo>
                      <a:pt x="20033" y="35046"/>
                      <a:pt x="11522" y="33344"/>
                      <a:pt x="11392" y="33213"/>
                    </a:cubicBezTo>
                    <a:cubicBezTo>
                      <a:pt x="10737" y="32558"/>
                      <a:pt x="9951" y="32035"/>
                      <a:pt x="9297" y="31380"/>
                    </a:cubicBezTo>
                    <a:cubicBezTo>
                      <a:pt x="10344" y="32427"/>
                      <a:pt x="10213" y="32296"/>
                      <a:pt x="9166" y="30987"/>
                    </a:cubicBezTo>
                    <a:cubicBezTo>
                      <a:pt x="8511" y="30201"/>
                      <a:pt x="8118" y="29416"/>
                      <a:pt x="7856" y="28499"/>
                    </a:cubicBezTo>
                    <a:cubicBezTo>
                      <a:pt x="7333" y="26928"/>
                      <a:pt x="7202" y="26666"/>
                      <a:pt x="7463" y="27582"/>
                    </a:cubicBezTo>
                    <a:cubicBezTo>
                      <a:pt x="8118" y="28892"/>
                      <a:pt x="6809" y="32165"/>
                      <a:pt x="7202" y="25881"/>
                    </a:cubicBezTo>
                    <a:cubicBezTo>
                      <a:pt x="6547" y="35308"/>
                      <a:pt x="13879" y="43556"/>
                      <a:pt x="22914" y="45128"/>
                    </a:cubicBezTo>
                    <a:cubicBezTo>
                      <a:pt x="32210" y="46699"/>
                      <a:pt x="41113" y="41461"/>
                      <a:pt x="44255" y="32427"/>
                    </a:cubicBezTo>
                    <a:cubicBezTo>
                      <a:pt x="51064" y="12395"/>
                      <a:pt x="27889" y="-7900"/>
                      <a:pt x="9166" y="3098"/>
                    </a:cubicBezTo>
                    <a:cubicBezTo>
                      <a:pt x="2881" y="6895"/>
                      <a:pt x="-1571" y="14620"/>
                      <a:pt x="524" y="22084"/>
                    </a:cubicBezTo>
                    <a:cubicBezTo>
                      <a:pt x="2488" y="28892"/>
                      <a:pt x="9035" y="35831"/>
                      <a:pt x="16629" y="35308"/>
                    </a:cubicBezTo>
                    <a:lnTo>
                      <a:pt x="16629" y="35308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" name="ïṩlïďe"/>
              <p:cNvSpPr/>
              <p:nvPr/>
            </p:nvSpPr>
            <p:spPr>
              <a:xfrm>
                <a:off x="8021179" y="1961778"/>
                <a:ext cx="49459" cy="35268"/>
              </a:xfrm>
              <a:custGeom>
                <a:avLst/>
                <a:gdLst>
                  <a:gd name="connsiteX0" fmla="*/ 10310 w 49459"/>
                  <a:gd name="connsiteY0" fmla="*/ 31457 h 35268"/>
                  <a:gd name="connsiteX1" fmla="*/ 31129 w 49459"/>
                  <a:gd name="connsiteY1" fmla="*/ 35255 h 35268"/>
                  <a:gd name="connsiteX2" fmla="*/ 49459 w 49459"/>
                  <a:gd name="connsiteY2" fmla="*/ 18364 h 35268"/>
                  <a:gd name="connsiteX3" fmla="*/ 32569 w 49459"/>
                  <a:gd name="connsiteY3" fmla="*/ 34 h 35268"/>
                  <a:gd name="connsiteX4" fmla="*/ 11620 w 49459"/>
                  <a:gd name="connsiteY4" fmla="*/ 2260 h 35268"/>
                  <a:gd name="connsiteX5" fmla="*/ 10310 w 49459"/>
                  <a:gd name="connsiteY5" fmla="*/ 31457 h 35268"/>
                  <a:gd name="connsiteX6" fmla="*/ 10310 w 49459"/>
                  <a:gd name="connsiteY6" fmla="*/ 31457 h 35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9459" h="35268">
                    <a:moveTo>
                      <a:pt x="10310" y="31457"/>
                    </a:moveTo>
                    <a:cubicBezTo>
                      <a:pt x="17250" y="33160"/>
                      <a:pt x="23928" y="34993"/>
                      <a:pt x="31129" y="35255"/>
                    </a:cubicBezTo>
                    <a:cubicBezTo>
                      <a:pt x="40294" y="35647"/>
                      <a:pt x="49459" y="27922"/>
                      <a:pt x="49459" y="18364"/>
                    </a:cubicBezTo>
                    <a:cubicBezTo>
                      <a:pt x="49459" y="8806"/>
                      <a:pt x="42389" y="427"/>
                      <a:pt x="32569" y="34"/>
                    </a:cubicBezTo>
                    <a:cubicBezTo>
                      <a:pt x="25499" y="-228"/>
                      <a:pt x="18559" y="1081"/>
                      <a:pt x="11620" y="2260"/>
                    </a:cubicBezTo>
                    <a:cubicBezTo>
                      <a:pt x="-3176" y="4616"/>
                      <a:pt x="-4092" y="27791"/>
                      <a:pt x="10310" y="31457"/>
                    </a:cubicBezTo>
                    <a:lnTo>
                      <a:pt x="10310" y="31457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" name="ïṩlïde"/>
              <p:cNvSpPr/>
              <p:nvPr/>
            </p:nvSpPr>
            <p:spPr>
              <a:xfrm>
                <a:off x="7993795" y="1750078"/>
                <a:ext cx="36273" cy="37610"/>
              </a:xfrm>
              <a:custGeom>
                <a:avLst/>
                <a:gdLst>
                  <a:gd name="connsiteX0" fmla="*/ 17400 w 36273"/>
                  <a:gd name="connsiteY0" fmla="*/ 37594 h 37610"/>
                  <a:gd name="connsiteX1" fmla="*/ 18972 w 36273"/>
                  <a:gd name="connsiteY1" fmla="*/ 17 h 37610"/>
                  <a:gd name="connsiteX2" fmla="*/ 17400 w 36273"/>
                  <a:gd name="connsiteY2" fmla="*/ 37594 h 37610"/>
                  <a:gd name="connsiteX3" fmla="*/ 17400 w 36273"/>
                  <a:gd name="connsiteY3" fmla="*/ 37594 h 37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273" h="37610">
                    <a:moveTo>
                      <a:pt x="17400" y="37594"/>
                    </a:moveTo>
                    <a:cubicBezTo>
                      <a:pt x="41492" y="38510"/>
                      <a:pt x="43063" y="1064"/>
                      <a:pt x="18972" y="17"/>
                    </a:cubicBezTo>
                    <a:cubicBezTo>
                      <a:pt x="-5251" y="-900"/>
                      <a:pt x="-6822" y="36546"/>
                      <a:pt x="17400" y="37594"/>
                    </a:cubicBezTo>
                    <a:lnTo>
                      <a:pt x="17400" y="37594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" name="ïṩļïďê"/>
              <p:cNvSpPr/>
              <p:nvPr/>
            </p:nvSpPr>
            <p:spPr>
              <a:xfrm>
                <a:off x="8193332" y="1671381"/>
                <a:ext cx="42662" cy="44170"/>
              </a:xfrm>
              <a:custGeom>
                <a:avLst/>
                <a:gdLst>
                  <a:gd name="connsiteX0" fmla="*/ 20415 w 42662"/>
                  <a:gd name="connsiteY0" fmla="*/ 44147 h 44170"/>
                  <a:gd name="connsiteX1" fmla="*/ 22248 w 42662"/>
                  <a:gd name="connsiteY1" fmla="*/ 23 h 44170"/>
                  <a:gd name="connsiteX2" fmla="*/ 20415 w 42662"/>
                  <a:gd name="connsiteY2" fmla="*/ 44147 h 44170"/>
                  <a:gd name="connsiteX3" fmla="*/ 20415 w 42662"/>
                  <a:gd name="connsiteY3" fmla="*/ 44147 h 44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662" h="44170">
                    <a:moveTo>
                      <a:pt x="20415" y="44147"/>
                    </a:moveTo>
                    <a:cubicBezTo>
                      <a:pt x="48827" y="45326"/>
                      <a:pt x="50660" y="1202"/>
                      <a:pt x="22248" y="23"/>
                    </a:cubicBezTo>
                    <a:cubicBezTo>
                      <a:pt x="-6165" y="-1155"/>
                      <a:pt x="-7997" y="42969"/>
                      <a:pt x="20415" y="44147"/>
                    </a:cubicBezTo>
                    <a:lnTo>
                      <a:pt x="20415" y="44147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" name="îşḷíde"/>
              <p:cNvSpPr/>
              <p:nvPr/>
            </p:nvSpPr>
            <p:spPr>
              <a:xfrm>
                <a:off x="8614022" y="1784132"/>
                <a:ext cx="54592" cy="33756"/>
              </a:xfrm>
              <a:custGeom>
                <a:avLst/>
                <a:gdLst>
                  <a:gd name="connsiteX0" fmla="*/ 9936 w 54592"/>
                  <a:gd name="connsiteY0" fmla="*/ 29072 h 33756"/>
                  <a:gd name="connsiteX1" fmla="*/ 44764 w 54592"/>
                  <a:gd name="connsiteY1" fmla="*/ 32607 h 33756"/>
                  <a:gd name="connsiteX2" fmla="*/ 48823 w 54592"/>
                  <a:gd name="connsiteY2" fmla="*/ 8909 h 33756"/>
                  <a:gd name="connsiteX3" fmla="*/ 15174 w 54592"/>
                  <a:gd name="connsiteY3" fmla="*/ 5 h 33756"/>
                  <a:gd name="connsiteX4" fmla="*/ 9936 w 54592"/>
                  <a:gd name="connsiteY4" fmla="*/ 29072 h 33756"/>
                  <a:gd name="connsiteX5" fmla="*/ 9936 w 54592"/>
                  <a:gd name="connsiteY5" fmla="*/ 29072 h 33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592" h="33756">
                    <a:moveTo>
                      <a:pt x="9936" y="29072"/>
                    </a:moveTo>
                    <a:cubicBezTo>
                      <a:pt x="21589" y="33655"/>
                      <a:pt x="32457" y="34964"/>
                      <a:pt x="44764" y="32607"/>
                    </a:cubicBezTo>
                    <a:cubicBezTo>
                      <a:pt x="55763" y="30512"/>
                      <a:pt x="58119" y="14670"/>
                      <a:pt x="48823" y="8909"/>
                    </a:cubicBezTo>
                    <a:cubicBezTo>
                      <a:pt x="38218" y="2362"/>
                      <a:pt x="27612" y="-126"/>
                      <a:pt x="15174" y="5"/>
                    </a:cubicBezTo>
                    <a:cubicBezTo>
                      <a:pt x="-1979" y="5"/>
                      <a:pt x="-5776" y="23049"/>
                      <a:pt x="9936" y="29072"/>
                    </a:cubicBezTo>
                    <a:lnTo>
                      <a:pt x="9936" y="29072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" name="ïśļïdê"/>
              <p:cNvSpPr/>
              <p:nvPr/>
            </p:nvSpPr>
            <p:spPr>
              <a:xfrm>
                <a:off x="8718646" y="2056728"/>
                <a:ext cx="43317" cy="39552"/>
              </a:xfrm>
              <a:custGeom>
                <a:avLst/>
                <a:gdLst>
                  <a:gd name="connsiteX0" fmla="*/ 3773 w 43317"/>
                  <a:gd name="connsiteY0" fmla="*/ 25018 h 39552"/>
                  <a:gd name="connsiteX1" fmla="*/ 27603 w 43317"/>
                  <a:gd name="connsiteY1" fmla="*/ 39551 h 39552"/>
                  <a:gd name="connsiteX2" fmla="*/ 42660 w 43317"/>
                  <a:gd name="connsiteY2" fmla="*/ 21352 h 39552"/>
                  <a:gd name="connsiteX3" fmla="*/ 32054 w 43317"/>
                  <a:gd name="connsiteY3" fmla="*/ 6295 h 39552"/>
                  <a:gd name="connsiteX4" fmla="*/ 19223 w 43317"/>
                  <a:gd name="connsiteY4" fmla="*/ 665 h 39552"/>
                  <a:gd name="connsiteX5" fmla="*/ 2202 w 43317"/>
                  <a:gd name="connsiteY5" fmla="*/ 6818 h 39552"/>
                  <a:gd name="connsiteX6" fmla="*/ 3773 w 43317"/>
                  <a:gd name="connsiteY6" fmla="*/ 25018 h 39552"/>
                  <a:gd name="connsiteX7" fmla="*/ 3773 w 43317"/>
                  <a:gd name="connsiteY7" fmla="*/ 25018 h 39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3317" h="39552">
                    <a:moveTo>
                      <a:pt x="3773" y="25018"/>
                    </a:moveTo>
                    <a:cubicBezTo>
                      <a:pt x="9796" y="33267"/>
                      <a:pt x="16866" y="39421"/>
                      <a:pt x="27603" y="39551"/>
                    </a:cubicBezTo>
                    <a:cubicBezTo>
                      <a:pt x="36375" y="39682"/>
                      <a:pt x="45933" y="30779"/>
                      <a:pt x="42660" y="21352"/>
                    </a:cubicBezTo>
                    <a:cubicBezTo>
                      <a:pt x="40434" y="14805"/>
                      <a:pt x="37815" y="10354"/>
                      <a:pt x="32054" y="6295"/>
                    </a:cubicBezTo>
                    <a:cubicBezTo>
                      <a:pt x="28126" y="3545"/>
                      <a:pt x="23675" y="2236"/>
                      <a:pt x="19223" y="665"/>
                    </a:cubicBezTo>
                    <a:cubicBezTo>
                      <a:pt x="13200" y="-1300"/>
                      <a:pt x="5475" y="1188"/>
                      <a:pt x="2202" y="6818"/>
                    </a:cubicBezTo>
                    <a:cubicBezTo>
                      <a:pt x="-1464" y="13234"/>
                      <a:pt x="-286" y="19519"/>
                      <a:pt x="3773" y="25018"/>
                    </a:cubicBezTo>
                    <a:lnTo>
                      <a:pt x="3773" y="25018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" name="iṥḷîde"/>
              <p:cNvSpPr/>
              <p:nvPr/>
            </p:nvSpPr>
            <p:spPr>
              <a:xfrm>
                <a:off x="8616524" y="2185598"/>
                <a:ext cx="48784" cy="41560"/>
              </a:xfrm>
              <a:custGeom>
                <a:avLst/>
                <a:gdLst>
                  <a:gd name="connsiteX0" fmla="*/ 9791 w 48784"/>
                  <a:gd name="connsiteY0" fmla="*/ 30747 h 41560"/>
                  <a:gd name="connsiteX1" fmla="*/ 12017 w 48784"/>
                  <a:gd name="connsiteY1" fmla="*/ 31401 h 41560"/>
                  <a:gd name="connsiteX2" fmla="*/ 14636 w 48784"/>
                  <a:gd name="connsiteY2" fmla="*/ 31925 h 41560"/>
                  <a:gd name="connsiteX3" fmla="*/ 15683 w 48784"/>
                  <a:gd name="connsiteY3" fmla="*/ 32056 h 41560"/>
                  <a:gd name="connsiteX4" fmla="*/ 16600 w 48784"/>
                  <a:gd name="connsiteY4" fmla="*/ 32580 h 41560"/>
                  <a:gd name="connsiteX5" fmla="*/ 14636 w 48784"/>
                  <a:gd name="connsiteY5" fmla="*/ 31663 h 41560"/>
                  <a:gd name="connsiteX6" fmla="*/ 14636 w 48784"/>
                  <a:gd name="connsiteY6" fmla="*/ 31532 h 41560"/>
                  <a:gd name="connsiteX7" fmla="*/ 14898 w 48784"/>
                  <a:gd name="connsiteY7" fmla="*/ 31925 h 41560"/>
                  <a:gd name="connsiteX8" fmla="*/ 19480 w 48784"/>
                  <a:gd name="connsiteY8" fmla="*/ 36246 h 41560"/>
                  <a:gd name="connsiteX9" fmla="*/ 18302 w 48784"/>
                  <a:gd name="connsiteY9" fmla="*/ 35460 h 41560"/>
                  <a:gd name="connsiteX10" fmla="*/ 26550 w 48784"/>
                  <a:gd name="connsiteY10" fmla="*/ 40567 h 41560"/>
                  <a:gd name="connsiteX11" fmla="*/ 41346 w 48784"/>
                  <a:gd name="connsiteY11" fmla="*/ 38210 h 41560"/>
                  <a:gd name="connsiteX12" fmla="*/ 48547 w 48784"/>
                  <a:gd name="connsiteY12" fmla="*/ 25247 h 41560"/>
                  <a:gd name="connsiteX13" fmla="*/ 30217 w 48784"/>
                  <a:gd name="connsiteY13" fmla="*/ 1418 h 41560"/>
                  <a:gd name="connsiteX14" fmla="*/ 4554 w 48784"/>
                  <a:gd name="connsiteY14" fmla="*/ 6393 h 41560"/>
                  <a:gd name="connsiteX15" fmla="*/ 9791 w 48784"/>
                  <a:gd name="connsiteY15" fmla="*/ 30747 h 41560"/>
                  <a:gd name="connsiteX16" fmla="*/ 9791 w 48784"/>
                  <a:gd name="connsiteY16" fmla="*/ 30747 h 41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8784" h="41560">
                    <a:moveTo>
                      <a:pt x="9791" y="30747"/>
                    </a:moveTo>
                    <a:cubicBezTo>
                      <a:pt x="10577" y="30878"/>
                      <a:pt x="11232" y="31270"/>
                      <a:pt x="12017" y="31401"/>
                    </a:cubicBezTo>
                    <a:cubicBezTo>
                      <a:pt x="12803" y="31663"/>
                      <a:pt x="13719" y="31925"/>
                      <a:pt x="14636" y="31925"/>
                    </a:cubicBezTo>
                    <a:cubicBezTo>
                      <a:pt x="17123" y="32318"/>
                      <a:pt x="17516" y="32449"/>
                      <a:pt x="15683" y="32056"/>
                    </a:cubicBezTo>
                    <a:cubicBezTo>
                      <a:pt x="12934" y="30485"/>
                      <a:pt x="16338" y="32973"/>
                      <a:pt x="16600" y="32580"/>
                    </a:cubicBezTo>
                    <a:cubicBezTo>
                      <a:pt x="15945" y="32318"/>
                      <a:pt x="15290" y="31925"/>
                      <a:pt x="14636" y="31663"/>
                    </a:cubicBezTo>
                    <a:cubicBezTo>
                      <a:pt x="15814" y="32449"/>
                      <a:pt x="15814" y="32449"/>
                      <a:pt x="14636" y="31532"/>
                    </a:cubicBezTo>
                    <a:cubicBezTo>
                      <a:pt x="13850" y="29830"/>
                      <a:pt x="14112" y="31139"/>
                      <a:pt x="14898" y="31925"/>
                    </a:cubicBezTo>
                    <a:cubicBezTo>
                      <a:pt x="16338" y="33496"/>
                      <a:pt x="17778" y="34937"/>
                      <a:pt x="19480" y="36246"/>
                    </a:cubicBezTo>
                    <a:cubicBezTo>
                      <a:pt x="18825" y="35853"/>
                      <a:pt x="16731" y="33758"/>
                      <a:pt x="18302" y="35460"/>
                    </a:cubicBezTo>
                    <a:cubicBezTo>
                      <a:pt x="20789" y="38079"/>
                      <a:pt x="23408" y="39126"/>
                      <a:pt x="26550" y="40567"/>
                    </a:cubicBezTo>
                    <a:cubicBezTo>
                      <a:pt x="31264" y="42793"/>
                      <a:pt x="37418" y="40959"/>
                      <a:pt x="41346" y="38210"/>
                    </a:cubicBezTo>
                    <a:cubicBezTo>
                      <a:pt x="46060" y="34937"/>
                      <a:pt x="47631" y="30747"/>
                      <a:pt x="48547" y="25247"/>
                    </a:cubicBezTo>
                    <a:cubicBezTo>
                      <a:pt x="50511" y="13987"/>
                      <a:pt x="39906" y="4298"/>
                      <a:pt x="30217" y="1418"/>
                    </a:cubicBezTo>
                    <a:cubicBezTo>
                      <a:pt x="21444" y="-1201"/>
                      <a:pt x="11101" y="-546"/>
                      <a:pt x="4554" y="6393"/>
                    </a:cubicBezTo>
                    <a:cubicBezTo>
                      <a:pt x="-2647" y="13594"/>
                      <a:pt x="-1600" y="28128"/>
                      <a:pt x="9791" y="30747"/>
                    </a:cubicBezTo>
                    <a:lnTo>
                      <a:pt x="9791" y="30747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îşľîḓê"/>
              <p:cNvSpPr/>
              <p:nvPr/>
            </p:nvSpPr>
            <p:spPr>
              <a:xfrm>
                <a:off x="8368622" y="2132638"/>
                <a:ext cx="38394" cy="35973"/>
              </a:xfrm>
              <a:custGeom>
                <a:avLst/>
                <a:gdLst>
                  <a:gd name="connsiteX0" fmla="*/ 22014 w 38394"/>
                  <a:gd name="connsiteY0" fmla="*/ 35523 h 35973"/>
                  <a:gd name="connsiteX1" fmla="*/ 33405 w 38394"/>
                  <a:gd name="connsiteY1" fmla="*/ 29893 h 35973"/>
                  <a:gd name="connsiteX2" fmla="*/ 34322 w 38394"/>
                  <a:gd name="connsiteY2" fmla="*/ 7242 h 35973"/>
                  <a:gd name="connsiteX3" fmla="*/ 23455 w 38394"/>
                  <a:gd name="connsiteY3" fmla="*/ 826 h 35973"/>
                  <a:gd name="connsiteX4" fmla="*/ 18 w 38394"/>
                  <a:gd name="connsiteY4" fmla="*/ 17193 h 35973"/>
                  <a:gd name="connsiteX5" fmla="*/ 22014 w 38394"/>
                  <a:gd name="connsiteY5" fmla="*/ 35523 h 35973"/>
                  <a:gd name="connsiteX6" fmla="*/ 22014 w 38394"/>
                  <a:gd name="connsiteY6" fmla="*/ 35523 h 35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394" h="35973">
                    <a:moveTo>
                      <a:pt x="22014" y="35523"/>
                    </a:moveTo>
                    <a:cubicBezTo>
                      <a:pt x="26204" y="34607"/>
                      <a:pt x="30394" y="33167"/>
                      <a:pt x="33405" y="29893"/>
                    </a:cubicBezTo>
                    <a:cubicBezTo>
                      <a:pt x="39690" y="23216"/>
                      <a:pt x="40083" y="14443"/>
                      <a:pt x="34322" y="7242"/>
                    </a:cubicBezTo>
                    <a:cubicBezTo>
                      <a:pt x="31441" y="3707"/>
                      <a:pt x="27644" y="2135"/>
                      <a:pt x="23455" y="826"/>
                    </a:cubicBezTo>
                    <a:cubicBezTo>
                      <a:pt x="12325" y="-2709"/>
                      <a:pt x="542" y="5540"/>
                      <a:pt x="18" y="17193"/>
                    </a:cubicBezTo>
                    <a:cubicBezTo>
                      <a:pt x="-506" y="28977"/>
                      <a:pt x="10623" y="38142"/>
                      <a:pt x="22014" y="35523"/>
                    </a:cubicBezTo>
                    <a:lnTo>
                      <a:pt x="22014" y="3552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ïṩľîde"/>
              <p:cNvSpPr/>
              <p:nvPr/>
            </p:nvSpPr>
            <p:spPr>
              <a:xfrm>
                <a:off x="8930502" y="2235022"/>
                <a:ext cx="60013" cy="43524"/>
              </a:xfrm>
              <a:custGeom>
                <a:avLst/>
                <a:gdLst>
                  <a:gd name="connsiteX0" fmla="*/ 4289 w 60013"/>
                  <a:gd name="connsiteY0" fmla="*/ 27803 h 43524"/>
                  <a:gd name="connsiteX1" fmla="*/ 25370 w 60013"/>
                  <a:gd name="connsiteY1" fmla="*/ 39980 h 43524"/>
                  <a:gd name="connsiteX2" fmla="*/ 51556 w 60013"/>
                  <a:gd name="connsiteY2" fmla="*/ 40635 h 43524"/>
                  <a:gd name="connsiteX3" fmla="*/ 58365 w 60013"/>
                  <a:gd name="connsiteY3" fmla="*/ 18245 h 43524"/>
                  <a:gd name="connsiteX4" fmla="*/ 38201 w 60013"/>
                  <a:gd name="connsiteY4" fmla="*/ 3712 h 43524"/>
                  <a:gd name="connsiteX5" fmla="*/ 16990 w 60013"/>
                  <a:gd name="connsiteY5" fmla="*/ 46 h 43524"/>
                  <a:gd name="connsiteX6" fmla="*/ 1540 w 60013"/>
                  <a:gd name="connsiteY6" fmla="*/ 9604 h 43524"/>
                  <a:gd name="connsiteX7" fmla="*/ 4289 w 60013"/>
                  <a:gd name="connsiteY7" fmla="*/ 27803 h 43524"/>
                  <a:gd name="connsiteX8" fmla="*/ 4289 w 60013"/>
                  <a:gd name="connsiteY8" fmla="*/ 27803 h 43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013" h="43524">
                    <a:moveTo>
                      <a:pt x="4289" y="27803"/>
                    </a:moveTo>
                    <a:cubicBezTo>
                      <a:pt x="10313" y="33171"/>
                      <a:pt x="17907" y="36969"/>
                      <a:pt x="25370" y="39980"/>
                    </a:cubicBezTo>
                    <a:cubicBezTo>
                      <a:pt x="34011" y="43515"/>
                      <a:pt x="42915" y="45479"/>
                      <a:pt x="51556" y="40635"/>
                    </a:cubicBezTo>
                    <a:cubicBezTo>
                      <a:pt x="59805" y="36052"/>
                      <a:pt x="61900" y="26625"/>
                      <a:pt x="58365" y="18245"/>
                    </a:cubicBezTo>
                    <a:cubicBezTo>
                      <a:pt x="54830" y="9865"/>
                      <a:pt x="46450" y="6069"/>
                      <a:pt x="38201" y="3712"/>
                    </a:cubicBezTo>
                    <a:cubicBezTo>
                      <a:pt x="31916" y="1879"/>
                      <a:pt x="23537" y="-347"/>
                      <a:pt x="16990" y="46"/>
                    </a:cubicBezTo>
                    <a:cubicBezTo>
                      <a:pt x="10313" y="569"/>
                      <a:pt x="4421" y="3057"/>
                      <a:pt x="1540" y="9604"/>
                    </a:cubicBezTo>
                    <a:cubicBezTo>
                      <a:pt x="-948" y="15234"/>
                      <a:pt x="-686" y="23483"/>
                      <a:pt x="4289" y="27803"/>
                    </a:cubicBezTo>
                    <a:lnTo>
                      <a:pt x="4289" y="2780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ïśḻïďè"/>
              <p:cNvSpPr/>
              <p:nvPr/>
            </p:nvSpPr>
            <p:spPr>
              <a:xfrm>
                <a:off x="8762194" y="1966704"/>
                <a:ext cx="37625" cy="37163"/>
              </a:xfrm>
              <a:custGeom>
                <a:avLst/>
                <a:gdLst>
                  <a:gd name="connsiteX0" fmla="*/ 2386 w 37625"/>
                  <a:gd name="connsiteY0" fmla="*/ 26139 h 37163"/>
                  <a:gd name="connsiteX1" fmla="*/ 2910 w 37625"/>
                  <a:gd name="connsiteY1" fmla="*/ 27448 h 37163"/>
                  <a:gd name="connsiteX2" fmla="*/ 37607 w 37625"/>
                  <a:gd name="connsiteY2" fmla="*/ 19461 h 37163"/>
                  <a:gd name="connsiteX3" fmla="*/ 3564 w 37625"/>
                  <a:gd name="connsiteY3" fmla="*/ 8725 h 37163"/>
                  <a:gd name="connsiteX4" fmla="*/ 2648 w 37625"/>
                  <a:gd name="connsiteY4" fmla="*/ 9903 h 37163"/>
                  <a:gd name="connsiteX5" fmla="*/ 1993 w 37625"/>
                  <a:gd name="connsiteY5" fmla="*/ 26139 h 37163"/>
                  <a:gd name="connsiteX6" fmla="*/ 2779 w 37625"/>
                  <a:gd name="connsiteY6" fmla="*/ 27317 h 37163"/>
                  <a:gd name="connsiteX7" fmla="*/ 37476 w 37625"/>
                  <a:gd name="connsiteY7" fmla="*/ 19330 h 37163"/>
                  <a:gd name="connsiteX8" fmla="*/ 3434 w 37625"/>
                  <a:gd name="connsiteY8" fmla="*/ 8594 h 37163"/>
                  <a:gd name="connsiteX9" fmla="*/ 2386 w 37625"/>
                  <a:gd name="connsiteY9" fmla="*/ 26139 h 37163"/>
                  <a:gd name="connsiteX10" fmla="*/ 2386 w 37625"/>
                  <a:gd name="connsiteY10" fmla="*/ 26139 h 37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7625" h="37163">
                    <a:moveTo>
                      <a:pt x="2386" y="26139"/>
                    </a:moveTo>
                    <a:cubicBezTo>
                      <a:pt x="2517" y="26531"/>
                      <a:pt x="2779" y="27055"/>
                      <a:pt x="2910" y="27448"/>
                    </a:cubicBezTo>
                    <a:cubicBezTo>
                      <a:pt x="9980" y="44993"/>
                      <a:pt x="36952" y="36613"/>
                      <a:pt x="37607" y="19461"/>
                    </a:cubicBezTo>
                    <a:cubicBezTo>
                      <a:pt x="38392" y="-310"/>
                      <a:pt x="14563" y="-4631"/>
                      <a:pt x="3564" y="8725"/>
                    </a:cubicBezTo>
                    <a:cubicBezTo>
                      <a:pt x="3302" y="9117"/>
                      <a:pt x="2910" y="9510"/>
                      <a:pt x="2648" y="9903"/>
                    </a:cubicBezTo>
                    <a:cubicBezTo>
                      <a:pt x="-625" y="13831"/>
                      <a:pt x="-887" y="21949"/>
                      <a:pt x="1993" y="26139"/>
                    </a:cubicBezTo>
                    <a:cubicBezTo>
                      <a:pt x="2255" y="26531"/>
                      <a:pt x="2517" y="26924"/>
                      <a:pt x="2779" y="27317"/>
                    </a:cubicBezTo>
                    <a:cubicBezTo>
                      <a:pt x="12599" y="41458"/>
                      <a:pt x="36690" y="39101"/>
                      <a:pt x="37476" y="19330"/>
                    </a:cubicBezTo>
                    <a:cubicBezTo>
                      <a:pt x="38130" y="2309"/>
                      <a:pt x="11944" y="-8427"/>
                      <a:pt x="3434" y="8594"/>
                    </a:cubicBezTo>
                    <a:cubicBezTo>
                      <a:pt x="553" y="15009"/>
                      <a:pt x="-233" y="19592"/>
                      <a:pt x="2386" y="26139"/>
                    </a:cubicBezTo>
                    <a:lnTo>
                      <a:pt x="2386" y="2613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îṥľiďé"/>
              <p:cNvSpPr/>
              <p:nvPr/>
            </p:nvSpPr>
            <p:spPr>
              <a:xfrm>
                <a:off x="7670884" y="1733489"/>
                <a:ext cx="56213" cy="44499"/>
              </a:xfrm>
              <a:custGeom>
                <a:avLst/>
                <a:gdLst>
                  <a:gd name="connsiteX0" fmla="*/ 51867 w 56213"/>
                  <a:gd name="connsiteY0" fmla="*/ 16605 h 44499"/>
                  <a:gd name="connsiteX1" fmla="*/ 14289 w 56213"/>
                  <a:gd name="connsiteY1" fmla="*/ 500 h 44499"/>
                  <a:gd name="connsiteX2" fmla="*/ 2243 w 56213"/>
                  <a:gd name="connsiteY2" fmla="*/ 27079 h 44499"/>
                  <a:gd name="connsiteX3" fmla="*/ 39035 w 56213"/>
                  <a:gd name="connsiteY3" fmla="*/ 44493 h 44499"/>
                  <a:gd name="connsiteX4" fmla="*/ 51867 w 56213"/>
                  <a:gd name="connsiteY4" fmla="*/ 16605 h 44499"/>
                  <a:gd name="connsiteX5" fmla="*/ 51867 w 56213"/>
                  <a:gd name="connsiteY5" fmla="*/ 16605 h 44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213" h="44499">
                    <a:moveTo>
                      <a:pt x="51867" y="16605"/>
                    </a:moveTo>
                    <a:cubicBezTo>
                      <a:pt x="42570" y="6785"/>
                      <a:pt x="28430" y="-2249"/>
                      <a:pt x="14289" y="500"/>
                    </a:cubicBezTo>
                    <a:cubicBezTo>
                      <a:pt x="3029" y="2726"/>
                      <a:pt x="-3779" y="17128"/>
                      <a:pt x="2243" y="27079"/>
                    </a:cubicBezTo>
                    <a:cubicBezTo>
                      <a:pt x="9576" y="39387"/>
                      <a:pt x="25418" y="44101"/>
                      <a:pt x="39035" y="44493"/>
                    </a:cubicBezTo>
                    <a:cubicBezTo>
                      <a:pt x="53176" y="44886"/>
                      <a:pt x="61948" y="27211"/>
                      <a:pt x="51867" y="16605"/>
                    </a:cubicBezTo>
                    <a:lnTo>
                      <a:pt x="51867" y="16605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îşľíḑé"/>
              <p:cNvSpPr/>
              <p:nvPr/>
            </p:nvSpPr>
            <p:spPr>
              <a:xfrm>
                <a:off x="7839396" y="1885261"/>
                <a:ext cx="56982" cy="33459"/>
              </a:xfrm>
              <a:custGeom>
                <a:avLst/>
                <a:gdLst>
                  <a:gd name="connsiteX0" fmla="*/ 49770 w 56982"/>
                  <a:gd name="connsiteY0" fmla="*/ 7550 h 33459"/>
                  <a:gd name="connsiteX1" fmla="*/ 17167 w 56982"/>
                  <a:gd name="connsiteY1" fmla="*/ 87 h 33459"/>
                  <a:gd name="connsiteX2" fmla="*/ 15 w 56982"/>
                  <a:gd name="connsiteY2" fmla="*/ 15929 h 33459"/>
                  <a:gd name="connsiteX3" fmla="*/ 15858 w 56982"/>
                  <a:gd name="connsiteY3" fmla="*/ 33082 h 33459"/>
                  <a:gd name="connsiteX4" fmla="*/ 48853 w 56982"/>
                  <a:gd name="connsiteY4" fmla="*/ 28237 h 33459"/>
                  <a:gd name="connsiteX5" fmla="*/ 49770 w 56982"/>
                  <a:gd name="connsiteY5" fmla="*/ 7550 h 33459"/>
                  <a:gd name="connsiteX6" fmla="*/ 49770 w 56982"/>
                  <a:gd name="connsiteY6" fmla="*/ 7550 h 33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982" h="33459">
                    <a:moveTo>
                      <a:pt x="49770" y="7550"/>
                    </a:moveTo>
                    <a:cubicBezTo>
                      <a:pt x="39688" y="4015"/>
                      <a:pt x="28166" y="-699"/>
                      <a:pt x="17167" y="87"/>
                    </a:cubicBezTo>
                    <a:cubicBezTo>
                      <a:pt x="8264" y="741"/>
                      <a:pt x="408" y="6372"/>
                      <a:pt x="15" y="15929"/>
                    </a:cubicBezTo>
                    <a:cubicBezTo>
                      <a:pt x="-378" y="25619"/>
                      <a:pt x="6954" y="31773"/>
                      <a:pt x="15858" y="33082"/>
                    </a:cubicBezTo>
                    <a:cubicBezTo>
                      <a:pt x="26725" y="34653"/>
                      <a:pt x="38509" y="30987"/>
                      <a:pt x="48853" y="28237"/>
                    </a:cubicBezTo>
                    <a:cubicBezTo>
                      <a:pt x="59197" y="25488"/>
                      <a:pt x="59851" y="11085"/>
                      <a:pt x="49770" y="7550"/>
                    </a:cubicBezTo>
                    <a:lnTo>
                      <a:pt x="49770" y="7550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íśľíḋê"/>
              <p:cNvSpPr/>
              <p:nvPr/>
            </p:nvSpPr>
            <p:spPr>
              <a:xfrm>
                <a:off x="7872787" y="1594722"/>
                <a:ext cx="36651" cy="44930"/>
              </a:xfrm>
              <a:custGeom>
                <a:avLst/>
                <a:gdLst>
                  <a:gd name="connsiteX0" fmla="*/ 36019 w 36651"/>
                  <a:gd name="connsiteY0" fmla="*/ 38843 h 44930"/>
                  <a:gd name="connsiteX1" fmla="*/ 33662 w 36651"/>
                  <a:gd name="connsiteY1" fmla="*/ 13311 h 44930"/>
                  <a:gd name="connsiteX2" fmla="*/ 13106 w 36651"/>
                  <a:gd name="connsiteY2" fmla="*/ 611 h 44930"/>
                  <a:gd name="connsiteX3" fmla="*/ 5381 w 36651"/>
                  <a:gd name="connsiteY3" fmla="*/ 4670 h 44930"/>
                  <a:gd name="connsiteX4" fmla="*/ 4464 w 36651"/>
                  <a:gd name="connsiteY4" fmla="*/ 28761 h 44930"/>
                  <a:gd name="connsiteX5" fmla="*/ 24889 w 36651"/>
                  <a:gd name="connsiteY5" fmla="*/ 44473 h 44930"/>
                  <a:gd name="connsiteX6" fmla="*/ 36019 w 36651"/>
                  <a:gd name="connsiteY6" fmla="*/ 38843 h 44930"/>
                  <a:gd name="connsiteX7" fmla="*/ 36019 w 36651"/>
                  <a:gd name="connsiteY7" fmla="*/ 38843 h 44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651" h="44930">
                    <a:moveTo>
                      <a:pt x="36019" y="38843"/>
                    </a:moveTo>
                    <a:cubicBezTo>
                      <a:pt x="37590" y="30463"/>
                      <a:pt x="36019" y="21560"/>
                      <a:pt x="33662" y="13311"/>
                    </a:cubicBezTo>
                    <a:cubicBezTo>
                      <a:pt x="31305" y="4801"/>
                      <a:pt x="22402" y="-2139"/>
                      <a:pt x="13106" y="611"/>
                    </a:cubicBezTo>
                    <a:cubicBezTo>
                      <a:pt x="9963" y="1527"/>
                      <a:pt x="7868" y="2575"/>
                      <a:pt x="5381" y="4670"/>
                    </a:cubicBezTo>
                    <a:cubicBezTo>
                      <a:pt x="-1428" y="10823"/>
                      <a:pt x="-1821" y="22083"/>
                      <a:pt x="4464" y="28761"/>
                    </a:cubicBezTo>
                    <a:cubicBezTo>
                      <a:pt x="10225" y="34915"/>
                      <a:pt x="16903" y="41462"/>
                      <a:pt x="24889" y="44473"/>
                    </a:cubicBezTo>
                    <a:cubicBezTo>
                      <a:pt x="28948" y="46044"/>
                      <a:pt x="35102" y="43425"/>
                      <a:pt x="36019" y="38843"/>
                    </a:cubicBezTo>
                    <a:lnTo>
                      <a:pt x="36019" y="3884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íşliḍé"/>
              <p:cNvSpPr/>
              <p:nvPr/>
            </p:nvSpPr>
            <p:spPr>
              <a:xfrm>
                <a:off x="8069619" y="1577312"/>
                <a:ext cx="41303" cy="42624"/>
              </a:xfrm>
              <a:custGeom>
                <a:avLst/>
                <a:gdLst>
                  <a:gd name="connsiteX0" fmla="*/ 40953 w 41303"/>
                  <a:gd name="connsiteY0" fmla="*/ 30982 h 42624"/>
                  <a:gd name="connsiteX1" fmla="*/ 39251 w 41303"/>
                  <a:gd name="connsiteY1" fmla="*/ 21817 h 42624"/>
                  <a:gd name="connsiteX2" fmla="*/ 34930 w 41303"/>
                  <a:gd name="connsiteY2" fmla="*/ 9771 h 42624"/>
                  <a:gd name="connsiteX3" fmla="*/ 5863 w 41303"/>
                  <a:gd name="connsiteY3" fmla="*/ 4796 h 42624"/>
                  <a:gd name="connsiteX4" fmla="*/ 8482 w 41303"/>
                  <a:gd name="connsiteY4" fmla="*/ 34125 h 42624"/>
                  <a:gd name="connsiteX5" fmla="*/ 20004 w 41303"/>
                  <a:gd name="connsiteY5" fmla="*/ 39493 h 42624"/>
                  <a:gd name="connsiteX6" fmla="*/ 28907 w 41303"/>
                  <a:gd name="connsiteY6" fmla="*/ 41981 h 42624"/>
                  <a:gd name="connsiteX7" fmla="*/ 40953 w 41303"/>
                  <a:gd name="connsiteY7" fmla="*/ 30982 h 42624"/>
                  <a:gd name="connsiteX8" fmla="*/ 40953 w 41303"/>
                  <a:gd name="connsiteY8" fmla="*/ 30982 h 42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303" h="42624">
                    <a:moveTo>
                      <a:pt x="40953" y="30982"/>
                    </a:moveTo>
                    <a:cubicBezTo>
                      <a:pt x="40036" y="27971"/>
                      <a:pt x="39905" y="24960"/>
                      <a:pt x="39251" y="21817"/>
                    </a:cubicBezTo>
                    <a:cubicBezTo>
                      <a:pt x="38465" y="17758"/>
                      <a:pt x="36632" y="13437"/>
                      <a:pt x="34930" y="9771"/>
                    </a:cubicBezTo>
                    <a:cubicBezTo>
                      <a:pt x="29955" y="-1358"/>
                      <a:pt x="14243" y="-2929"/>
                      <a:pt x="5863" y="4796"/>
                    </a:cubicBezTo>
                    <a:cubicBezTo>
                      <a:pt x="-2648" y="12652"/>
                      <a:pt x="-1993" y="28233"/>
                      <a:pt x="8482" y="34125"/>
                    </a:cubicBezTo>
                    <a:cubicBezTo>
                      <a:pt x="11886" y="36089"/>
                      <a:pt x="16207" y="38315"/>
                      <a:pt x="20004" y="39493"/>
                    </a:cubicBezTo>
                    <a:cubicBezTo>
                      <a:pt x="23015" y="40410"/>
                      <a:pt x="26027" y="40802"/>
                      <a:pt x="28907" y="41981"/>
                    </a:cubicBezTo>
                    <a:cubicBezTo>
                      <a:pt x="35323" y="44861"/>
                      <a:pt x="43048" y="37529"/>
                      <a:pt x="40953" y="30982"/>
                    </a:cubicBezTo>
                    <a:lnTo>
                      <a:pt x="40953" y="30982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îṡlíďé"/>
              <p:cNvSpPr/>
              <p:nvPr/>
            </p:nvSpPr>
            <p:spPr>
              <a:xfrm>
                <a:off x="8346233" y="1621827"/>
                <a:ext cx="50867" cy="44933"/>
              </a:xfrm>
              <a:custGeom>
                <a:avLst/>
                <a:gdLst>
                  <a:gd name="connsiteX0" fmla="*/ 49641 w 50867"/>
                  <a:gd name="connsiteY0" fmla="*/ 32163 h 44933"/>
                  <a:gd name="connsiteX1" fmla="*/ 40083 w 50867"/>
                  <a:gd name="connsiteY1" fmla="*/ 14618 h 44933"/>
                  <a:gd name="connsiteX2" fmla="*/ 12063 w 50867"/>
                  <a:gd name="connsiteY2" fmla="*/ 608 h 44933"/>
                  <a:gd name="connsiteX3" fmla="*/ 18 w 50867"/>
                  <a:gd name="connsiteY3" fmla="*/ 15273 h 44933"/>
                  <a:gd name="connsiteX4" fmla="*/ 5124 w 50867"/>
                  <a:gd name="connsiteY4" fmla="*/ 31246 h 44933"/>
                  <a:gd name="connsiteX5" fmla="*/ 20836 w 50867"/>
                  <a:gd name="connsiteY5" fmla="*/ 39888 h 44933"/>
                  <a:gd name="connsiteX6" fmla="*/ 39559 w 50867"/>
                  <a:gd name="connsiteY6" fmla="*/ 44601 h 44933"/>
                  <a:gd name="connsiteX7" fmla="*/ 49641 w 50867"/>
                  <a:gd name="connsiteY7" fmla="*/ 32163 h 44933"/>
                  <a:gd name="connsiteX8" fmla="*/ 49641 w 50867"/>
                  <a:gd name="connsiteY8" fmla="*/ 32163 h 4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867" h="44933">
                    <a:moveTo>
                      <a:pt x="49641" y="32163"/>
                    </a:moveTo>
                    <a:cubicBezTo>
                      <a:pt x="45582" y="26140"/>
                      <a:pt x="42571" y="19986"/>
                      <a:pt x="40083" y="14618"/>
                    </a:cubicBezTo>
                    <a:cubicBezTo>
                      <a:pt x="34846" y="3358"/>
                      <a:pt x="23978" y="-1880"/>
                      <a:pt x="12063" y="608"/>
                    </a:cubicBezTo>
                    <a:cubicBezTo>
                      <a:pt x="5909" y="1917"/>
                      <a:pt x="-375" y="8595"/>
                      <a:pt x="18" y="15273"/>
                    </a:cubicBezTo>
                    <a:cubicBezTo>
                      <a:pt x="410" y="21295"/>
                      <a:pt x="1065" y="26533"/>
                      <a:pt x="5124" y="31246"/>
                    </a:cubicBezTo>
                    <a:cubicBezTo>
                      <a:pt x="9183" y="35960"/>
                      <a:pt x="14813" y="38840"/>
                      <a:pt x="20836" y="39888"/>
                    </a:cubicBezTo>
                    <a:cubicBezTo>
                      <a:pt x="26335" y="40804"/>
                      <a:pt x="32881" y="42245"/>
                      <a:pt x="39559" y="44601"/>
                    </a:cubicBezTo>
                    <a:cubicBezTo>
                      <a:pt x="45974" y="46696"/>
                      <a:pt x="53962" y="38447"/>
                      <a:pt x="49641" y="32163"/>
                    </a:cubicBezTo>
                    <a:lnTo>
                      <a:pt x="49641" y="3216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ïṡļíďé"/>
              <p:cNvSpPr/>
              <p:nvPr/>
            </p:nvSpPr>
            <p:spPr>
              <a:xfrm>
                <a:off x="8229913" y="1541630"/>
                <a:ext cx="39589" cy="41329"/>
              </a:xfrm>
              <a:custGeom>
                <a:avLst/>
                <a:gdLst>
                  <a:gd name="connsiteX0" fmla="*/ 38826 w 39589"/>
                  <a:gd name="connsiteY0" fmla="*/ 18089 h 41329"/>
                  <a:gd name="connsiteX1" fmla="*/ 31887 w 39589"/>
                  <a:gd name="connsiteY1" fmla="*/ 5912 h 41329"/>
                  <a:gd name="connsiteX2" fmla="*/ 9628 w 39589"/>
                  <a:gd name="connsiteY2" fmla="*/ 2115 h 41329"/>
                  <a:gd name="connsiteX3" fmla="*/ 332 w 39589"/>
                  <a:gd name="connsiteY3" fmla="*/ 22540 h 41329"/>
                  <a:gd name="connsiteX4" fmla="*/ 3343 w 39589"/>
                  <a:gd name="connsiteY4" fmla="*/ 31313 h 41329"/>
                  <a:gd name="connsiteX5" fmla="*/ 26911 w 39589"/>
                  <a:gd name="connsiteY5" fmla="*/ 40085 h 41329"/>
                  <a:gd name="connsiteX6" fmla="*/ 38826 w 39589"/>
                  <a:gd name="connsiteY6" fmla="*/ 18089 h 41329"/>
                  <a:gd name="connsiteX7" fmla="*/ 38826 w 39589"/>
                  <a:gd name="connsiteY7" fmla="*/ 18089 h 41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589" h="41329">
                    <a:moveTo>
                      <a:pt x="38826" y="18089"/>
                    </a:moveTo>
                    <a:cubicBezTo>
                      <a:pt x="37124" y="13375"/>
                      <a:pt x="35160" y="9709"/>
                      <a:pt x="31887" y="5912"/>
                    </a:cubicBezTo>
                    <a:cubicBezTo>
                      <a:pt x="26911" y="-111"/>
                      <a:pt x="16437" y="-1813"/>
                      <a:pt x="9628" y="2115"/>
                    </a:cubicBezTo>
                    <a:cubicBezTo>
                      <a:pt x="2165" y="6435"/>
                      <a:pt x="-1108" y="14160"/>
                      <a:pt x="332" y="22540"/>
                    </a:cubicBezTo>
                    <a:cubicBezTo>
                      <a:pt x="856" y="25682"/>
                      <a:pt x="1641" y="28563"/>
                      <a:pt x="3343" y="31313"/>
                    </a:cubicBezTo>
                    <a:cubicBezTo>
                      <a:pt x="8057" y="39692"/>
                      <a:pt x="17877" y="43489"/>
                      <a:pt x="26911" y="40085"/>
                    </a:cubicBezTo>
                    <a:cubicBezTo>
                      <a:pt x="34898" y="37073"/>
                      <a:pt x="41968" y="26992"/>
                      <a:pt x="38826" y="18089"/>
                    </a:cubicBezTo>
                    <a:lnTo>
                      <a:pt x="38826" y="1808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îṥ1îdé"/>
              <p:cNvSpPr/>
              <p:nvPr/>
            </p:nvSpPr>
            <p:spPr>
              <a:xfrm>
                <a:off x="8771463" y="2149213"/>
                <a:ext cx="33472" cy="34973"/>
              </a:xfrm>
              <a:custGeom>
                <a:avLst/>
                <a:gdLst>
                  <a:gd name="connsiteX0" fmla="*/ 19303 w 33472"/>
                  <a:gd name="connsiteY0" fmla="*/ 33744 h 34973"/>
                  <a:gd name="connsiteX1" fmla="*/ 21922 w 33472"/>
                  <a:gd name="connsiteY1" fmla="*/ 32827 h 34973"/>
                  <a:gd name="connsiteX2" fmla="*/ 23100 w 33472"/>
                  <a:gd name="connsiteY2" fmla="*/ 2975 h 34973"/>
                  <a:gd name="connsiteX3" fmla="*/ 20613 w 33472"/>
                  <a:gd name="connsiteY3" fmla="*/ 1797 h 34973"/>
                  <a:gd name="connsiteX4" fmla="*/ 19303 w 33472"/>
                  <a:gd name="connsiteY4" fmla="*/ 33744 h 34973"/>
                  <a:gd name="connsiteX5" fmla="*/ 19303 w 33472"/>
                  <a:gd name="connsiteY5" fmla="*/ 33744 h 34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3472" h="34973">
                    <a:moveTo>
                      <a:pt x="19303" y="33744"/>
                    </a:moveTo>
                    <a:cubicBezTo>
                      <a:pt x="20220" y="33482"/>
                      <a:pt x="21005" y="33089"/>
                      <a:pt x="21922" y="32827"/>
                    </a:cubicBezTo>
                    <a:cubicBezTo>
                      <a:pt x="36717" y="27328"/>
                      <a:pt x="37503" y="9653"/>
                      <a:pt x="23100" y="2975"/>
                    </a:cubicBezTo>
                    <a:cubicBezTo>
                      <a:pt x="22315" y="2582"/>
                      <a:pt x="21398" y="2189"/>
                      <a:pt x="20613" y="1797"/>
                    </a:cubicBezTo>
                    <a:cubicBezTo>
                      <a:pt x="-5443" y="-10380"/>
                      <a:pt x="-7799" y="43695"/>
                      <a:pt x="19303" y="33744"/>
                    </a:cubicBezTo>
                    <a:lnTo>
                      <a:pt x="19303" y="33744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íṣḷïḋê"/>
              <p:cNvSpPr/>
              <p:nvPr/>
            </p:nvSpPr>
            <p:spPr>
              <a:xfrm>
                <a:off x="8510694" y="2197797"/>
                <a:ext cx="32037" cy="45313"/>
              </a:xfrm>
              <a:custGeom>
                <a:avLst/>
                <a:gdLst>
                  <a:gd name="connsiteX0" fmla="*/ 8 w 32037"/>
                  <a:gd name="connsiteY0" fmla="*/ 13310 h 45313"/>
                  <a:gd name="connsiteX1" fmla="*/ 6816 w 32037"/>
                  <a:gd name="connsiteY1" fmla="*/ 40806 h 45313"/>
                  <a:gd name="connsiteX2" fmla="*/ 18600 w 32037"/>
                  <a:gd name="connsiteY2" fmla="*/ 45257 h 45313"/>
                  <a:gd name="connsiteX3" fmla="*/ 29205 w 32037"/>
                  <a:gd name="connsiteY3" fmla="*/ 38841 h 45313"/>
                  <a:gd name="connsiteX4" fmla="*/ 31300 w 32037"/>
                  <a:gd name="connsiteY4" fmla="*/ 21296 h 45313"/>
                  <a:gd name="connsiteX5" fmla="*/ 27634 w 32037"/>
                  <a:gd name="connsiteY5" fmla="*/ 10691 h 45313"/>
                  <a:gd name="connsiteX6" fmla="*/ 12708 w 32037"/>
                  <a:gd name="connsiteY6" fmla="*/ 85 h 45313"/>
                  <a:gd name="connsiteX7" fmla="*/ 8 w 32037"/>
                  <a:gd name="connsiteY7" fmla="*/ 13310 h 45313"/>
                  <a:gd name="connsiteX8" fmla="*/ 8 w 32037"/>
                  <a:gd name="connsiteY8" fmla="*/ 13310 h 45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037" h="45313">
                    <a:moveTo>
                      <a:pt x="8" y="13310"/>
                    </a:moveTo>
                    <a:cubicBezTo>
                      <a:pt x="400" y="22344"/>
                      <a:pt x="-647" y="34128"/>
                      <a:pt x="6816" y="40806"/>
                    </a:cubicBezTo>
                    <a:cubicBezTo>
                      <a:pt x="10351" y="43948"/>
                      <a:pt x="13886" y="45650"/>
                      <a:pt x="18600" y="45257"/>
                    </a:cubicBezTo>
                    <a:cubicBezTo>
                      <a:pt x="22659" y="44865"/>
                      <a:pt x="27372" y="42770"/>
                      <a:pt x="29205" y="38841"/>
                    </a:cubicBezTo>
                    <a:cubicBezTo>
                      <a:pt x="32086" y="33211"/>
                      <a:pt x="32741" y="27581"/>
                      <a:pt x="31300" y="21296"/>
                    </a:cubicBezTo>
                    <a:cubicBezTo>
                      <a:pt x="30384" y="17761"/>
                      <a:pt x="28812" y="14226"/>
                      <a:pt x="27634" y="10691"/>
                    </a:cubicBezTo>
                    <a:cubicBezTo>
                      <a:pt x="25277" y="4014"/>
                      <a:pt x="20040" y="-700"/>
                      <a:pt x="12708" y="85"/>
                    </a:cubicBezTo>
                    <a:cubicBezTo>
                      <a:pt x="6292" y="609"/>
                      <a:pt x="-255" y="6239"/>
                      <a:pt x="8" y="13310"/>
                    </a:cubicBezTo>
                    <a:lnTo>
                      <a:pt x="8" y="13310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6" name="图形 7"/>
            <p:cNvGrpSpPr/>
            <p:nvPr/>
          </p:nvGrpSpPr>
          <p:grpSpPr>
            <a:xfrm>
              <a:off x="8383828" y="518458"/>
              <a:ext cx="460488" cy="328474"/>
              <a:chOff x="8383828" y="518458"/>
              <a:chExt cx="460488" cy="328474"/>
            </a:xfrm>
            <a:solidFill>
              <a:schemeClr val="accent1"/>
            </a:solidFill>
          </p:grpSpPr>
          <p:sp>
            <p:nvSpPr>
              <p:cNvPr id="26" name="ïṥ1ïḍê"/>
              <p:cNvSpPr/>
              <p:nvPr/>
            </p:nvSpPr>
            <p:spPr>
              <a:xfrm>
                <a:off x="8392863" y="518458"/>
                <a:ext cx="447264" cy="222136"/>
              </a:xfrm>
              <a:custGeom>
                <a:avLst/>
                <a:gdLst>
                  <a:gd name="connsiteX0" fmla="*/ 447265 w 447264"/>
                  <a:gd name="connsiteY0" fmla="*/ 34653 h 222136"/>
                  <a:gd name="connsiteX1" fmla="*/ 0 w 447264"/>
                  <a:gd name="connsiteY1" fmla="*/ 187058 h 222136"/>
                  <a:gd name="connsiteX2" fmla="*/ 447265 w 447264"/>
                  <a:gd name="connsiteY2" fmla="*/ 34653 h 222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7264" h="222136">
                    <a:moveTo>
                      <a:pt x="447265" y="34653"/>
                    </a:moveTo>
                    <a:cubicBezTo>
                      <a:pt x="127266" y="-96541"/>
                      <a:pt x="0" y="187058"/>
                      <a:pt x="0" y="187058"/>
                    </a:cubicBezTo>
                    <a:cubicBezTo>
                      <a:pt x="0" y="187058"/>
                      <a:pt x="281505" y="331345"/>
                      <a:pt x="447265" y="34653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" name="iŝ1ïḍé"/>
              <p:cNvSpPr/>
              <p:nvPr/>
            </p:nvSpPr>
            <p:spPr>
              <a:xfrm>
                <a:off x="8383828" y="634350"/>
                <a:ext cx="460488" cy="212583"/>
              </a:xfrm>
              <a:custGeom>
                <a:avLst/>
                <a:gdLst>
                  <a:gd name="connsiteX0" fmla="*/ 460489 w 460488"/>
                  <a:gd name="connsiteY0" fmla="*/ 159153 h 212583"/>
                  <a:gd name="connsiteX1" fmla="*/ 0 w 460488"/>
                  <a:gd name="connsiteY1" fmla="*/ 53622 h 212583"/>
                  <a:gd name="connsiteX2" fmla="*/ 460489 w 460488"/>
                  <a:gd name="connsiteY2" fmla="*/ 159153 h 212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0488" h="212583">
                    <a:moveTo>
                      <a:pt x="460489" y="159153"/>
                    </a:moveTo>
                    <a:cubicBezTo>
                      <a:pt x="257151" y="-120649"/>
                      <a:pt x="0" y="53622"/>
                      <a:pt x="0" y="53622"/>
                    </a:cubicBezTo>
                    <a:cubicBezTo>
                      <a:pt x="0" y="53622"/>
                      <a:pt x="163534" y="324390"/>
                      <a:pt x="460489" y="159153"/>
                    </a:cubicBezTo>
                    <a:close/>
                  </a:path>
                </a:pathLst>
              </a:custGeom>
              <a:solidFill>
                <a:srgbClr val="006ED1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7" name="图形 7"/>
            <p:cNvGrpSpPr/>
            <p:nvPr/>
          </p:nvGrpSpPr>
          <p:grpSpPr>
            <a:xfrm>
              <a:off x="6487809" y="-2078235"/>
              <a:ext cx="441426" cy="633450"/>
              <a:chOff x="6487809" y="-2078235"/>
              <a:chExt cx="441426" cy="633450"/>
            </a:xfrm>
            <a:solidFill>
              <a:schemeClr val="accent1"/>
            </a:solidFill>
          </p:grpSpPr>
          <p:sp>
            <p:nvSpPr>
              <p:cNvPr id="24" name="í$1îḍè"/>
              <p:cNvSpPr/>
              <p:nvPr/>
            </p:nvSpPr>
            <p:spPr>
              <a:xfrm>
                <a:off x="6487809" y="-2078235"/>
                <a:ext cx="272836" cy="626511"/>
              </a:xfrm>
              <a:custGeom>
                <a:avLst/>
                <a:gdLst>
                  <a:gd name="connsiteX0" fmla="*/ 99366 w 272836"/>
                  <a:gd name="connsiteY0" fmla="*/ 0 h 626511"/>
                  <a:gd name="connsiteX1" fmla="*/ 173343 w 272836"/>
                  <a:gd name="connsiteY1" fmla="*/ 626511 h 626511"/>
                  <a:gd name="connsiteX2" fmla="*/ 99366 w 272836"/>
                  <a:gd name="connsiteY2" fmla="*/ 0 h 626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2836" h="626511">
                    <a:moveTo>
                      <a:pt x="99366" y="0"/>
                    </a:moveTo>
                    <a:cubicBezTo>
                      <a:pt x="-161320" y="381144"/>
                      <a:pt x="173343" y="626511"/>
                      <a:pt x="173343" y="626511"/>
                    </a:cubicBezTo>
                    <a:cubicBezTo>
                      <a:pt x="173343" y="626511"/>
                      <a:pt x="440445" y="299311"/>
                      <a:pt x="99366" y="0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" name="iSľïḓé"/>
              <p:cNvSpPr/>
              <p:nvPr/>
            </p:nvSpPr>
            <p:spPr>
              <a:xfrm>
                <a:off x="6607578" y="-2016566"/>
                <a:ext cx="321657" cy="571781"/>
              </a:xfrm>
              <a:custGeom>
                <a:avLst/>
                <a:gdLst>
                  <a:gd name="connsiteX0" fmla="*/ 294620 w 321657"/>
                  <a:gd name="connsiteY0" fmla="*/ 0 h 571781"/>
                  <a:gd name="connsiteX1" fmla="*/ 28042 w 321657"/>
                  <a:gd name="connsiteY1" fmla="*/ 571782 h 571781"/>
                  <a:gd name="connsiteX2" fmla="*/ 294620 w 321657"/>
                  <a:gd name="connsiteY2" fmla="*/ 0 h 571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1657" h="571781">
                    <a:moveTo>
                      <a:pt x="294620" y="0"/>
                    </a:moveTo>
                    <a:cubicBezTo>
                      <a:pt x="-127636" y="187102"/>
                      <a:pt x="28042" y="571782"/>
                      <a:pt x="28042" y="571782"/>
                    </a:cubicBezTo>
                    <a:cubicBezTo>
                      <a:pt x="28042" y="571782"/>
                      <a:pt x="427386" y="433910"/>
                      <a:pt x="294620" y="0"/>
                    </a:cubicBezTo>
                    <a:close/>
                  </a:path>
                </a:pathLst>
              </a:custGeom>
              <a:solidFill>
                <a:srgbClr val="006ED1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8" name="ïṧḻîḓé"/>
            <p:cNvSpPr/>
            <p:nvPr/>
          </p:nvSpPr>
          <p:spPr>
            <a:xfrm>
              <a:off x="4238510" y="1788582"/>
              <a:ext cx="358361" cy="193222"/>
            </a:xfrm>
            <a:custGeom>
              <a:avLst/>
              <a:gdLst>
                <a:gd name="connsiteX0" fmla="*/ 358362 w 358361"/>
                <a:gd name="connsiteY0" fmla="*/ 18860 h 193222"/>
                <a:gd name="connsiteX1" fmla="*/ 0 w 358361"/>
                <a:gd name="connsiteY1" fmla="*/ 173753 h 193222"/>
                <a:gd name="connsiteX2" fmla="*/ 358362 w 358361"/>
                <a:gd name="connsiteY2" fmla="*/ 18860 h 193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8361" h="193222">
                  <a:moveTo>
                    <a:pt x="358362" y="18860"/>
                  </a:moveTo>
                  <a:cubicBezTo>
                    <a:pt x="86154" y="-68079"/>
                    <a:pt x="0" y="173753"/>
                    <a:pt x="0" y="173753"/>
                  </a:cubicBezTo>
                  <a:cubicBezTo>
                    <a:pt x="0" y="173753"/>
                    <a:pt x="241308" y="274178"/>
                    <a:pt x="358362" y="18860"/>
                  </a:cubicBezTo>
                  <a:close/>
                </a:path>
              </a:pathLst>
            </a:custGeom>
            <a:solidFill>
              <a:srgbClr val="009EE3"/>
            </a:solidFill>
            <a:ln w="130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ïšlíḑè"/>
            <p:cNvSpPr/>
            <p:nvPr/>
          </p:nvSpPr>
          <p:spPr>
            <a:xfrm>
              <a:off x="7131068" y="-2078366"/>
              <a:ext cx="191684" cy="191684"/>
            </a:xfrm>
            <a:custGeom>
              <a:avLst/>
              <a:gdLst>
                <a:gd name="connsiteX0" fmla="*/ 191685 w 191684"/>
                <a:gd name="connsiteY0" fmla="*/ 95842 h 191684"/>
                <a:gd name="connsiteX1" fmla="*/ 95842 w 191684"/>
                <a:gd name="connsiteY1" fmla="*/ 191685 h 191684"/>
                <a:gd name="connsiteX2" fmla="*/ 0 w 191684"/>
                <a:gd name="connsiteY2" fmla="*/ 95842 h 191684"/>
                <a:gd name="connsiteX3" fmla="*/ 95842 w 191684"/>
                <a:gd name="connsiteY3" fmla="*/ 0 h 191684"/>
                <a:gd name="connsiteX4" fmla="*/ 191685 w 191684"/>
                <a:gd name="connsiteY4" fmla="*/ 95842 h 191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1684" h="191684">
                  <a:moveTo>
                    <a:pt x="191685" y="95842"/>
                  </a:moveTo>
                  <a:cubicBezTo>
                    <a:pt x="191685" y="148775"/>
                    <a:pt x="148775" y="191685"/>
                    <a:pt x="95842" y="191685"/>
                  </a:cubicBezTo>
                  <a:cubicBezTo>
                    <a:pt x="42910" y="191685"/>
                    <a:pt x="0" y="148775"/>
                    <a:pt x="0" y="95842"/>
                  </a:cubicBezTo>
                  <a:cubicBezTo>
                    <a:pt x="0" y="42910"/>
                    <a:pt x="42910" y="0"/>
                    <a:pt x="95842" y="0"/>
                  </a:cubicBezTo>
                  <a:cubicBezTo>
                    <a:pt x="148775" y="0"/>
                    <a:pt x="191685" y="42910"/>
                    <a:pt x="191685" y="95842"/>
                  </a:cubicBezTo>
                  <a:close/>
                </a:path>
              </a:pathLst>
            </a:custGeom>
            <a:solidFill>
              <a:srgbClr val="4545DD"/>
            </a:solidFill>
            <a:ln w="130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îSḻîḋe"/>
            <p:cNvSpPr/>
            <p:nvPr/>
          </p:nvSpPr>
          <p:spPr>
            <a:xfrm>
              <a:off x="4657232" y="-1690017"/>
              <a:ext cx="254532" cy="206771"/>
            </a:xfrm>
            <a:custGeom>
              <a:avLst/>
              <a:gdLst>
                <a:gd name="connsiteX0" fmla="*/ 254532 w 254532"/>
                <a:gd name="connsiteY0" fmla="*/ 206215 h 206771"/>
                <a:gd name="connsiteX1" fmla="*/ 0 w 254532"/>
                <a:gd name="connsiteY1" fmla="*/ 1306 h 206771"/>
                <a:gd name="connsiteX2" fmla="*/ 254532 w 254532"/>
                <a:gd name="connsiteY2" fmla="*/ 206215 h 206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4532" h="206771">
                  <a:moveTo>
                    <a:pt x="254532" y="206215"/>
                  </a:moveTo>
                  <a:cubicBezTo>
                    <a:pt x="212765" y="-29332"/>
                    <a:pt x="0" y="1306"/>
                    <a:pt x="0" y="1306"/>
                  </a:cubicBezTo>
                  <a:cubicBezTo>
                    <a:pt x="0" y="1306"/>
                    <a:pt x="19771" y="219177"/>
                    <a:pt x="254532" y="206215"/>
                  </a:cubicBezTo>
                  <a:close/>
                </a:path>
              </a:pathLst>
            </a:custGeom>
            <a:solidFill>
              <a:srgbClr val="009EE3"/>
            </a:solidFill>
            <a:ln w="130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íšlîḍê"/>
            <p:cNvSpPr/>
            <p:nvPr/>
          </p:nvSpPr>
          <p:spPr>
            <a:xfrm>
              <a:off x="7963928" y="2218078"/>
              <a:ext cx="300227" cy="243888"/>
            </a:xfrm>
            <a:custGeom>
              <a:avLst/>
              <a:gdLst>
                <a:gd name="connsiteX0" fmla="*/ 300228 w 300227"/>
                <a:gd name="connsiteY0" fmla="*/ 243241 h 243888"/>
                <a:gd name="connsiteX1" fmla="*/ 0 w 300227"/>
                <a:gd name="connsiteY1" fmla="*/ 1540 h 243888"/>
                <a:gd name="connsiteX2" fmla="*/ 300228 w 300227"/>
                <a:gd name="connsiteY2" fmla="*/ 243241 h 243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27" h="243888">
                  <a:moveTo>
                    <a:pt x="300228" y="243241"/>
                  </a:moveTo>
                  <a:cubicBezTo>
                    <a:pt x="250997" y="-34597"/>
                    <a:pt x="0" y="1540"/>
                    <a:pt x="0" y="1540"/>
                  </a:cubicBezTo>
                  <a:cubicBezTo>
                    <a:pt x="0" y="1540"/>
                    <a:pt x="23437" y="258429"/>
                    <a:pt x="300228" y="243241"/>
                  </a:cubicBezTo>
                  <a:close/>
                </a:path>
              </a:pathLst>
            </a:custGeom>
            <a:solidFill>
              <a:srgbClr val="009EE3"/>
            </a:solidFill>
            <a:ln w="130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şļiḓé"/>
          <p:cNvSpPr/>
          <p:nvPr userDrawn="1"/>
        </p:nvSpPr>
        <p:spPr>
          <a:xfrm>
            <a:off x="0" y="3976519"/>
            <a:ext cx="12192000" cy="2881481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7" name="组合 6"/>
          <p:cNvGrpSpPr/>
          <p:nvPr userDrawn="1"/>
        </p:nvGrpSpPr>
        <p:grpSpPr>
          <a:xfrm>
            <a:off x="6096000" y="1456939"/>
            <a:ext cx="5201338" cy="4549373"/>
            <a:chOff x="3789177" y="-2078366"/>
            <a:chExt cx="5201338" cy="4549373"/>
          </a:xfrm>
        </p:grpSpPr>
        <p:grpSp>
          <p:nvGrpSpPr>
            <p:cNvPr id="8" name="图形 7"/>
            <p:cNvGrpSpPr/>
            <p:nvPr/>
          </p:nvGrpSpPr>
          <p:grpSpPr>
            <a:xfrm>
              <a:off x="3789177" y="-1077448"/>
              <a:ext cx="1088789" cy="2152587"/>
              <a:chOff x="3789177" y="-1077448"/>
              <a:chExt cx="1088789" cy="2152587"/>
            </a:xfrm>
            <a:solidFill>
              <a:srgbClr val="009EE3"/>
            </a:solidFill>
          </p:grpSpPr>
          <p:sp>
            <p:nvSpPr>
              <p:cNvPr id="131" name="íṥḷiḓè"/>
              <p:cNvSpPr/>
              <p:nvPr/>
            </p:nvSpPr>
            <p:spPr>
              <a:xfrm>
                <a:off x="3892325" y="-838175"/>
                <a:ext cx="985642" cy="1913314"/>
              </a:xfrm>
              <a:custGeom>
                <a:avLst/>
                <a:gdLst>
                  <a:gd name="connsiteX0" fmla="*/ 976101 w 985642"/>
                  <a:gd name="connsiteY0" fmla="*/ 1913314 h 1913314"/>
                  <a:gd name="connsiteX1" fmla="*/ 981469 w 985642"/>
                  <a:gd name="connsiteY1" fmla="*/ 1632857 h 1913314"/>
                  <a:gd name="connsiteX2" fmla="*/ 941796 w 985642"/>
                  <a:gd name="connsiteY2" fmla="*/ 1353971 h 1913314"/>
                  <a:gd name="connsiteX3" fmla="*/ 752337 w 985642"/>
                  <a:gd name="connsiteY3" fmla="*/ 822517 h 1913314"/>
                  <a:gd name="connsiteX4" fmla="*/ 683729 w 985642"/>
                  <a:gd name="connsiteY4" fmla="*/ 698655 h 1913314"/>
                  <a:gd name="connsiteX5" fmla="*/ 645889 w 985642"/>
                  <a:gd name="connsiteY5" fmla="*/ 638819 h 1913314"/>
                  <a:gd name="connsiteX6" fmla="*/ 626773 w 985642"/>
                  <a:gd name="connsiteY6" fmla="*/ 609097 h 1913314"/>
                  <a:gd name="connsiteX7" fmla="*/ 606479 w 985642"/>
                  <a:gd name="connsiteY7" fmla="*/ 580161 h 1913314"/>
                  <a:gd name="connsiteX8" fmla="*/ 429982 w 985642"/>
                  <a:gd name="connsiteY8" fmla="*/ 359671 h 1913314"/>
                  <a:gd name="connsiteX9" fmla="*/ 0 w 985642"/>
                  <a:gd name="connsiteY9" fmla="*/ 0 h 1913314"/>
                  <a:gd name="connsiteX10" fmla="*/ 388476 w 985642"/>
                  <a:gd name="connsiteY10" fmla="*/ 395678 h 1913314"/>
                  <a:gd name="connsiteX11" fmla="*/ 551225 w 985642"/>
                  <a:gd name="connsiteY11" fmla="*/ 617739 h 1913314"/>
                  <a:gd name="connsiteX12" fmla="*/ 570341 w 985642"/>
                  <a:gd name="connsiteY12" fmla="*/ 646282 h 1913314"/>
                  <a:gd name="connsiteX13" fmla="*/ 588410 w 985642"/>
                  <a:gd name="connsiteY13" fmla="*/ 675480 h 1913314"/>
                  <a:gd name="connsiteX14" fmla="*/ 624155 w 985642"/>
                  <a:gd name="connsiteY14" fmla="*/ 734138 h 1913314"/>
                  <a:gd name="connsiteX15" fmla="*/ 657935 w 985642"/>
                  <a:gd name="connsiteY15" fmla="*/ 793974 h 1913314"/>
                  <a:gd name="connsiteX16" fmla="*/ 666446 w 985642"/>
                  <a:gd name="connsiteY16" fmla="*/ 808900 h 1913314"/>
                  <a:gd name="connsiteX17" fmla="*/ 674302 w 985642"/>
                  <a:gd name="connsiteY17" fmla="*/ 824219 h 1913314"/>
                  <a:gd name="connsiteX18" fmla="*/ 690013 w 985642"/>
                  <a:gd name="connsiteY18" fmla="*/ 854726 h 1913314"/>
                  <a:gd name="connsiteX19" fmla="*/ 888769 w 985642"/>
                  <a:gd name="connsiteY19" fmla="*/ 1366803 h 1913314"/>
                  <a:gd name="connsiteX20" fmla="*/ 906052 w 985642"/>
                  <a:gd name="connsiteY20" fmla="*/ 1433578 h 1913314"/>
                  <a:gd name="connsiteX21" fmla="*/ 921633 w 985642"/>
                  <a:gd name="connsiteY21" fmla="*/ 1500877 h 1913314"/>
                  <a:gd name="connsiteX22" fmla="*/ 947688 w 985642"/>
                  <a:gd name="connsiteY22" fmla="*/ 1636785 h 1913314"/>
                  <a:gd name="connsiteX23" fmla="*/ 976101 w 985642"/>
                  <a:gd name="connsiteY23" fmla="*/ 1913314 h 1913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985642" h="1913314">
                    <a:moveTo>
                      <a:pt x="976101" y="1913314"/>
                    </a:moveTo>
                    <a:cubicBezTo>
                      <a:pt x="988539" y="1820614"/>
                      <a:pt x="987099" y="1726474"/>
                      <a:pt x="981469" y="1632857"/>
                    </a:cubicBezTo>
                    <a:cubicBezTo>
                      <a:pt x="974660" y="1539241"/>
                      <a:pt x="961567" y="1446017"/>
                      <a:pt x="941796" y="1353971"/>
                    </a:cubicBezTo>
                    <a:cubicBezTo>
                      <a:pt x="902909" y="1169750"/>
                      <a:pt x="839145" y="990241"/>
                      <a:pt x="752337" y="822517"/>
                    </a:cubicBezTo>
                    <a:cubicBezTo>
                      <a:pt x="731126" y="780357"/>
                      <a:pt x="707166" y="739637"/>
                      <a:pt x="683729" y="698655"/>
                    </a:cubicBezTo>
                    <a:cubicBezTo>
                      <a:pt x="671421" y="678491"/>
                      <a:pt x="658459" y="658721"/>
                      <a:pt x="645889" y="638819"/>
                    </a:cubicBezTo>
                    <a:cubicBezTo>
                      <a:pt x="639474" y="628868"/>
                      <a:pt x="633320" y="618786"/>
                      <a:pt x="626773" y="609097"/>
                    </a:cubicBezTo>
                    <a:lnTo>
                      <a:pt x="606479" y="580161"/>
                    </a:lnTo>
                    <a:cubicBezTo>
                      <a:pt x="553189" y="502257"/>
                      <a:pt x="493222" y="429327"/>
                      <a:pt x="429982" y="359671"/>
                    </a:cubicBezTo>
                    <a:cubicBezTo>
                      <a:pt x="302454" y="221276"/>
                      <a:pt x="157904" y="99247"/>
                      <a:pt x="0" y="0"/>
                    </a:cubicBezTo>
                    <a:cubicBezTo>
                      <a:pt x="140490" y="122815"/>
                      <a:pt x="271423" y="253747"/>
                      <a:pt x="388476" y="395678"/>
                    </a:cubicBezTo>
                    <a:cubicBezTo>
                      <a:pt x="445563" y="467690"/>
                      <a:pt x="501733" y="540489"/>
                      <a:pt x="551225" y="617739"/>
                    </a:cubicBezTo>
                    <a:lnTo>
                      <a:pt x="570341" y="646282"/>
                    </a:lnTo>
                    <a:cubicBezTo>
                      <a:pt x="576626" y="655840"/>
                      <a:pt x="582387" y="665791"/>
                      <a:pt x="588410" y="675480"/>
                    </a:cubicBezTo>
                    <a:cubicBezTo>
                      <a:pt x="600325" y="695120"/>
                      <a:pt x="612502" y="714498"/>
                      <a:pt x="624155" y="734138"/>
                    </a:cubicBezTo>
                    <a:lnTo>
                      <a:pt x="657935" y="793974"/>
                    </a:lnTo>
                    <a:lnTo>
                      <a:pt x="666446" y="808900"/>
                    </a:lnTo>
                    <a:lnTo>
                      <a:pt x="674302" y="824219"/>
                    </a:lnTo>
                    <a:lnTo>
                      <a:pt x="690013" y="854726"/>
                    </a:lnTo>
                    <a:cubicBezTo>
                      <a:pt x="774465" y="1017344"/>
                      <a:pt x="840062" y="1189520"/>
                      <a:pt x="888769" y="1366803"/>
                    </a:cubicBezTo>
                    <a:cubicBezTo>
                      <a:pt x="895184" y="1388930"/>
                      <a:pt x="900553" y="1411189"/>
                      <a:pt x="906052" y="1433578"/>
                    </a:cubicBezTo>
                    <a:cubicBezTo>
                      <a:pt x="911813" y="1455837"/>
                      <a:pt x="916395" y="1478357"/>
                      <a:pt x="921633" y="1500877"/>
                    </a:cubicBezTo>
                    <a:cubicBezTo>
                      <a:pt x="931846" y="1545787"/>
                      <a:pt x="940094" y="1591221"/>
                      <a:pt x="947688" y="1636785"/>
                    </a:cubicBezTo>
                    <a:cubicBezTo>
                      <a:pt x="962222" y="1728045"/>
                      <a:pt x="972958" y="1820090"/>
                      <a:pt x="976101" y="1913314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2" name="îŝḻîďe"/>
              <p:cNvSpPr/>
              <p:nvPr/>
            </p:nvSpPr>
            <p:spPr>
              <a:xfrm>
                <a:off x="4418150" y="-974345"/>
                <a:ext cx="94279" cy="683990"/>
              </a:xfrm>
              <a:custGeom>
                <a:avLst/>
                <a:gdLst>
                  <a:gd name="connsiteX0" fmla="*/ 9820 w 94279"/>
                  <a:gd name="connsiteY0" fmla="*/ 683991 h 683990"/>
                  <a:gd name="connsiteX1" fmla="*/ 71358 w 94279"/>
                  <a:gd name="connsiteY1" fmla="*/ 517445 h 683990"/>
                  <a:gd name="connsiteX2" fmla="*/ 94140 w 94279"/>
                  <a:gd name="connsiteY2" fmla="*/ 340162 h 683990"/>
                  <a:gd name="connsiteX3" fmla="*/ 93617 w 94279"/>
                  <a:gd name="connsiteY3" fmla="*/ 295252 h 683990"/>
                  <a:gd name="connsiteX4" fmla="*/ 89951 w 94279"/>
                  <a:gd name="connsiteY4" fmla="*/ 250474 h 683990"/>
                  <a:gd name="connsiteX5" fmla="*/ 73584 w 94279"/>
                  <a:gd name="connsiteY5" fmla="*/ 162094 h 683990"/>
                  <a:gd name="connsiteX6" fmla="*/ 0 w 94279"/>
                  <a:gd name="connsiteY6" fmla="*/ 0 h 683990"/>
                  <a:gd name="connsiteX7" fmla="*/ 45695 w 94279"/>
                  <a:gd name="connsiteY7" fmla="*/ 167986 h 683990"/>
                  <a:gd name="connsiteX8" fmla="*/ 48838 w 94279"/>
                  <a:gd name="connsiteY8" fmla="*/ 189328 h 683990"/>
                  <a:gd name="connsiteX9" fmla="*/ 51718 w 94279"/>
                  <a:gd name="connsiteY9" fmla="*/ 210670 h 683990"/>
                  <a:gd name="connsiteX10" fmla="*/ 55384 w 94279"/>
                  <a:gd name="connsiteY10" fmla="*/ 253616 h 683990"/>
                  <a:gd name="connsiteX11" fmla="*/ 57610 w 94279"/>
                  <a:gd name="connsiteY11" fmla="*/ 339769 h 683990"/>
                  <a:gd name="connsiteX12" fmla="*/ 43470 w 94279"/>
                  <a:gd name="connsiteY12" fmla="*/ 512207 h 683990"/>
                  <a:gd name="connsiteX13" fmla="*/ 9820 w 94279"/>
                  <a:gd name="connsiteY13" fmla="*/ 683991 h 683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4279" h="683990">
                    <a:moveTo>
                      <a:pt x="9820" y="683991"/>
                    </a:moveTo>
                    <a:cubicBezTo>
                      <a:pt x="38101" y="631880"/>
                      <a:pt x="57348" y="575186"/>
                      <a:pt x="71358" y="517445"/>
                    </a:cubicBezTo>
                    <a:cubicBezTo>
                      <a:pt x="85237" y="459573"/>
                      <a:pt x="93486" y="400129"/>
                      <a:pt x="94140" y="340162"/>
                    </a:cubicBezTo>
                    <a:cubicBezTo>
                      <a:pt x="94533" y="325236"/>
                      <a:pt x="94009" y="310179"/>
                      <a:pt x="93617" y="295252"/>
                    </a:cubicBezTo>
                    <a:cubicBezTo>
                      <a:pt x="92569" y="280326"/>
                      <a:pt x="91914" y="265269"/>
                      <a:pt x="89951" y="250474"/>
                    </a:cubicBezTo>
                    <a:cubicBezTo>
                      <a:pt x="86415" y="220752"/>
                      <a:pt x="81571" y="191030"/>
                      <a:pt x="73584" y="162094"/>
                    </a:cubicBezTo>
                    <a:cubicBezTo>
                      <a:pt x="58789" y="104091"/>
                      <a:pt x="34173" y="48445"/>
                      <a:pt x="0" y="0"/>
                    </a:cubicBezTo>
                    <a:cubicBezTo>
                      <a:pt x="20556" y="55515"/>
                      <a:pt x="36530" y="111162"/>
                      <a:pt x="45695" y="167986"/>
                    </a:cubicBezTo>
                    <a:cubicBezTo>
                      <a:pt x="46874" y="175057"/>
                      <a:pt x="48052" y="182127"/>
                      <a:pt x="48838" y="189328"/>
                    </a:cubicBezTo>
                    <a:lnTo>
                      <a:pt x="51718" y="210670"/>
                    </a:lnTo>
                    <a:cubicBezTo>
                      <a:pt x="53158" y="224942"/>
                      <a:pt x="54861" y="239213"/>
                      <a:pt x="55384" y="253616"/>
                    </a:cubicBezTo>
                    <a:cubicBezTo>
                      <a:pt x="57348" y="282290"/>
                      <a:pt x="58134" y="310964"/>
                      <a:pt x="57610" y="339769"/>
                    </a:cubicBezTo>
                    <a:cubicBezTo>
                      <a:pt x="56825" y="397249"/>
                      <a:pt x="51718" y="454859"/>
                      <a:pt x="43470" y="512207"/>
                    </a:cubicBezTo>
                    <a:cubicBezTo>
                      <a:pt x="34828" y="569294"/>
                      <a:pt x="23830" y="626511"/>
                      <a:pt x="9820" y="683991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3" name="íSļïde"/>
              <p:cNvSpPr/>
              <p:nvPr/>
            </p:nvSpPr>
            <p:spPr>
              <a:xfrm>
                <a:off x="3924404" y="-421941"/>
                <a:ext cx="627165" cy="281685"/>
              </a:xfrm>
              <a:custGeom>
                <a:avLst/>
                <a:gdLst>
                  <a:gd name="connsiteX0" fmla="*/ 0 w 627165"/>
                  <a:gd name="connsiteY0" fmla="*/ 0 h 281685"/>
                  <a:gd name="connsiteX1" fmla="*/ 126350 w 627165"/>
                  <a:gd name="connsiteY1" fmla="*/ 124779 h 281685"/>
                  <a:gd name="connsiteX2" fmla="*/ 278362 w 627165"/>
                  <a:gd name="connsiteY2" fmla="*/ 218788 h 281685"/>
                  <a:gd name="connsiteX3" fmla="*/ 319475 w 627165"/>
                  <a:gd name="connsiteY3" fmla="*/ 236857 h 281685"/>
                  <a:gd name="connsiteX4" fmla="*/ 361897 w 627165"/>
                  <a:gd name="connsiteY4" fmla="*/ 252045 h 281685"/>
                  <a:gd name="connsiteX5" fmla="*/ 449229 w 627165"/>
                  <a:gd name="connsiteY5" fmla="*/ 273649 h 281685"/>
                  <a:gd name="connsiteX6" fmla="*/ 627166 w 627165"/>
                  <a:gd name="connsiteY6" fmla="*/ 273518 h 281685"/>
                  <a:gd name="connsiteX7" fmla="*/ 455252 w 627165"/>
                  <a:gd name="connsiteY7" fmla="*/ 245760 h 281685"/>
                  <a:gd name="connsiteX8" fmla="*/ 434564 w 627165"/>
                  <a:gd name="connsiteY8" fmla="*/ 239868 h 281685"/>
                  <a:gd name="connsiteX9" fmla="*/ 413877 w 627165"/>
                  <a:gd name="connsiteY9" fmla="*/ 233714 h 281685"/>
                  <a:gd name="connsiteX10" fmla="*/ 373288 w 627165"/>
                  <a:gd name="connsiteY10" fmla="*/ 219443 h 281685"/>
                  <a:gd name="connsiteX11" fmla="*/ 293943 w 627165"/>
                  <a:gd name="connsiteY11" fmla="*/ 185924 h 281685"/>
                  <a:gd name="connsiteX12" fmla="*/ 142716 w 627165"/>
                  <a:gd name="connsiteY12" fmla="*/ 101865 h 281685"/>
                  <a:gd name="connsiteX13" fmla="*/ 0 w 627165"/>
                  <a:gd name="connsiteY13" fmla="*/ 0 h 281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27165" h="281685">
                    <a:moveTo>
                      <a:pt x="0" y="0"/>
                    </a:moveTo>
                    <a:cubicBezTo>
                      <a:pt x="35875" y="47267"/>
                      <a:pt x="79476" y="88117"/>
                      <a:pt x="126350" y="124779"/>
                    </a:cubicBezTo>
                    <a:cubicBezTo>
                      <a:pt x="173354" y="161309"/>
                      <a:pt x="224156" y="193387"/>
                      <a:pt x="278362" y="218788"/>
                    </a:cubicBezTo>
                    <a:cubicBezTo>
                      <a:pt x="291848" y="225204"/>
                      <a:pt x="305727" y="230965"/>
                      <a:pt x="319475" y="236857"/>
                    </a:cubicBezTo>
                    <a:cubicBezTo>
                      <a:pt x="333616" y="242094"/>
                      <a:pt x="347494" y="247724"/>
                      <a:pt x="361897" y="252045"/>
                    </a:cubicBezTo>
                    <a:cubicBezTo>
                      <a:pt x="390440" y="261079"/>
                      <a:pt x="419507" y="268935"/>
                      <a:pt x="449229" y="273649"/>
                    </a:cubicBezTo>
                    <a:cubicBezTo>
                      <a:pt x="508148" y="284123"/>
                      <a:pt x="569032" y="284647"/>
                      <a:pt x="627166" y="273518"/>
                    </a:cubicBezTo>
                    <a:cubicBezTo>
                      <a:pt x="568115" y="269328"/>
                      <a:pt x="510898" y="260948"/>
                      <a:pt x="455252" y="245760"/>
                    </a:cubicBezTo>
                    <a:cubicBezTo>
                      <a:pt x="448312" y="243927"/>
                      <a:pt x="441373" y="242094"/>
                      <a:pt x="434564" y="239868"/>
                    </a:cubicBezTo>
                    <a:lnTo>
                      <a:pt x="413877" y="233714"/>
                    </a:lnTo>
                    <a:cubicBezTo>
                      <a:pt x="400260" y="229132"/>
                      <a:pt x="386643" y="224680"/>
                      <a:pt x="373288" y="219443"/>
                    </a:cubicBezTo>
                    <a:cubicBezTo>
                      <a:pt x="346447" y="209492"/>
                      <a:pt x="319868" y="198362"/>
                      <a:pt x="293943" y="185924"/>
                    </a:cubicBezTo>
                    <a:cubicBezTo>
                      <a:pt x="241963" y="161440"/>
                      <a:pt x="191554" y="133027"/>
                      <a:pt x="142716" y="101865"/>
                    </a:cubicBezTo>
                    <a:cubicBezTo>
                      <a:pt x="94009" y="70049"/>
                      <a:pt x="46481" y="36399"/>
                      <a:pt x="0" y="0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4" name="ï$ḻiḓé"/>
              <p:cNvSpPr/>
              <p:nvPr/>
            </p:nvSpPr>
            <p:spPr>
              <a:xfrm>
                <a:off x="4315133" y="-1077448"/>
                <a:ext cx="205902" cy="205858"/>
              </a:xfrm>
              <a:custGeom>
                <a:avLst/>
                <a:gdLst>
                  <a:gd name="connsiteX0" fmla="*/ 3377 w 205902"/>
                  <a:gd name="connsiteY0" fmla="*/ 76917 h 205858"/>
                  <a:gd name="connsiteX1" fmla="*/ 76961 w 205902"/>
                  <a:gd name="connsiteY1" fmla="*/ 202481 h 205858"/>
                  <a:gd name="connsiteX2" fmla="*/ 202525 w 205902"/>
                  <a:gd name="connsiteY2" fmla="*/ 128897 h 205858"/>
                  <a:gd name="connsiteX3" fmla="*/ 128941 w 205902"/>
                  <a:gd name="connsiteY3" fmla="*/ 3333 h 205858"/>
                  <a:gd name="connsiteX4" fmla="*/ 3377 w 205902"/>
                  <a:gd name="connsiteY4" fmla="*/ 76917 h 205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902" h="205858">
                    <a:moveTo>
                      <a:pt x="3377" y="76917"/>
                    </a:moveTo>
                    <a:cubicBezTo>
                      <a:pt x="-11025" y="131909"/>
                      <a:pt x="21970" y="188210"/>
                      <a:pt x="76961" y="202481"/>
                    </a:cubicBezTo>
                    <a:cubicBezTo>
                      <a:pt x="131953" y="216884"/>
                      <a:pt x="188254" y="183889"/>
                      <a:pt x="202525" y="128897"/>
                    </a:cubicBezTo>
                    <a:cubicBezTo>
                      <a:pt x="216928" y="73906"/>
                      <a:pt x="183933" y="17605"/>
                      <a:pt x="128941" y="3333"/>
                    </a:cubicBezTo>
                    <a:cubicBezTo>
                      <a:pt x="73950" y="-10938"/>
                      <a:pt x="17780" y="21926"/>
                      <a:pt x="3377" y="76917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5" name="î$ļiḍé"/>
              <p:cNvSpPr/>
              <p:nvPr/>
            </p:nvSpPr>
            <p:spPr>
              <a:xfrm>
                <a:off x="3866297" y="-522732"/>
                <a:ext cx="205902" cy="205902"/>
              </a:xfrm>
              <a:custGeom>
                <a:avLst/>
                <a:gdLst>
                  <a:gd name="connsiteX0" fmla="*/ 3377 w 205902"/>
                  <a:gd name="connsiteY0" fmla="*/ 76961 h 205902"/>
                  <a:gd name="connsiteX1" fmla="*/ 76961 w 205902"/>
                  <a:gd name="connsiteY1" fmla="*/ 202526 h 205902"/>
                  <a:gd name="connsiteX2" fmla="*/ 202525 w 205902"/>
                  <a:gd name="connsiteY2" fmla="*/ 128941 h 205902"/>
                  <a:gd name="connsiteX3" fmla="*/ 128941 w 205902"/>
                  <a:gd name="connsiteY3" fmla="*/ 3377 h 205902"/>
                  <a:gd name="connsiteX4" fmla="*/ 3377 w 205902"/>
                  <a:gd name="connsiteY4" fmla="*/ 76961 h 205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902" h="205902">
                    <a:moveTo>
                      <a:pt x="3377" y="76961"/>
                    </a:moveTo>
                    <a:cubicBezTo>
                      <a:pt x="-11025" y="131953"/>
                      <a:pt x="21970" y="188123"/>
                      <a:pt x="76961" y="202526"/>
                    </a:cubicBezTo>
                    <a:cubicBezTo>
                      <a:pt x="131953" y="216928"/>
                      <a:pt x="188254" y="183933"/>
                      <a:pt x="202525" y="128941"/>
                    </a:cubicBezTo>
                    <a:cubicBezTo>
                      <a:pt x="216928" y="73950"/>
                      <a:pt x="183933" y="17649"/>
                      <a:pt x="128941" y="3377"/>
                    </a:cubicBezTo>
                    <a:cubicBezTo>
                      <a:pt x="74081" y="-11025"/>
                      <a:pt x="17780" y="21970"/>
                      <a:pt x="3377" y="76961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6" name="îšļidé"/>
              <p:cNvSpPr/>
              <p:nvPr/>
            </p:nvSpPr>
            <p:spPr>
              <a:xfrm>
                <a:off x="3789177" y="-941148"/>
                <a:ext cx="205902" cy="205858"/>
              </a:xfrm>
              <a:custGeom>
                <a:avLst/>
                <a:gdLst>
                  <a:gd name="connsiteX0" fmla="*/ 3377 w 205902"/>
                  <a:gd name="connsiteY0" fmla="*/ 76917 h 205858"/>
                  <a:gd name="connsiteX1" fmla="*/ 76961 w 205902"/>
                  <a:gd name="connsiteY1" fmla="*/ 202481 h 205858"/>
                  <a:gd name="connsiteX2" fmla="*/ 202525 w 205902"/>
                  <a:gd name="connsiteY2" fmla="*/ 128897 h 205858"/>
                  <a:gd name="connsiteX3" fmla="*/ 128941 w 205902"/>
                  <a:gd name="connsiteY3" fmla="*/ 3333 h 205858"/>
                  <a:gd name="connsiteX4" fmla="*/ 3377 w 205902"/>
                  <a:gd name="connsiteY4" fmla="*/ 76917 h 205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902" h="205858">
                    <a:moveTo>
                      <a:pt x="3377" y="76917"/>
                    </a:moveTo>
                    <a:cubicBezTo>
                      <a:pt x="-11025" y="131909"/>
                      <a:pt x="21970" y="188210"/>
                      <a:pt x="76961" y="202481"/>
                    </a:cubicBezTo>
                    <a:cubicBezTo>
                      <a:pt x="131953" y="216884"/>
                      <a:pt x="188254" y="183889"/>
                      <a:pt x="202525" y="128897"/>
                    </a:cubicBezTo>
                    <a:cubicBezTo>
                      <a:pt x="216928" y="73906"/>
                      <a:pt x="183933" y="17605"/>
                      <a:pt x="128941" y="3333"/>
                    </a:cubicBezTo>
                    <a:cubicBezTo>
                      <a:pt x="73950" y="-10938"/>
                      <a:pt x="17780" y="21926"/>
                      <a:pt x="3377" y="76917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图形 7"/>
            <p:cNvGrpSpPr/>
            <p:nvPr/>
          </p:nvGrpSpPr>
          <p:grpSpPr>
            <a:xfrm>
              <a:off x="4689441" y="-1993915"/>
              <a:ext cx="2529743" cy="4395005"/>
              <a:chOff x="4689441" y="-1993915"/>
              <a:chExt cx="2529743" cy="4395005"/>
            </a:xfrm>
            <a:solidFill>
              <a:schemeClr val="accent1"/>
            </a:solidFill>
          </p:grpSpPr>
          <p:sp>
            <p:nvSpPr>
              <p:cNvPr id="116" name="íṡļîḋe"/>
              <p:cNvSpPr/>
              <p:nvPr/>
            </p:nvSpPr>
            <p:spPr>
              <a:xfrm>
                <a:off x="4754908" y="-1337944"/>
                <a:ext cx="2464277" cy="3739034"/>
              </a:xfrm>
              <a:custGeom>
                <a:avLst/>
                <a:gdLst>
                  <a:gd name="connsiteX0" fmla="*/ 2338321 w 2464277"/>
                  <a:gd name="connsiteY0" fmla="*/ 3739035 h 3739034"/>
                  <a:gd name="connsiteX1" fmla="*/ 125957 w 2464277"/>
                  <a:gd name="connsiteY1" fmla="*/ 3739035 h 3739034"/>
                  <a:gd name="connsiteX2" fmla="*/ 0 w 2464277"/>
                  <a:gd name="connsiteY2" fmla="*/ 3613078 h 3739034"/>
                  <a:gd name="connsiteX3" fmla="*/ 0 w 2464277"/>
                  <a:gd name="connsiteY3" fmla="*/ 125957 h 3739034"/>
                  <a:gd name="connsiteX4" fmla="*/ 125957 w 2464277"/>
                  <a:gd name="connsiteY4" fmla="*/ 0 h 3739034"/>
                  <a:gd name="connsiteX5" fmla="*/ 2338321 w 2464277"/>
                  <a:gd name="connsiteY5" fmla="*/ 0 h 3739034"/>
                  <a:gd name="connsiteX6" fmla="*/ 2464278 w 2464277"/>
                  <a:gd name="connsiteY6" fmla="*/ 125957 h 3739034"/>
                  <a:gd name="connsiteX7" fmla="*/ 2464278 w 2464277"/>
                  <a:gd name="connsiteY7" fmla="*/ 3613078 h 3739034"/>
                  <a:gd name="connsiteX8" fmla="*/ 2338321 w 2464277"/>
                  <a:gd name="connsiteY8" fmla="*/ 3739035 h 3739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64277" h="3739034">
                    <a:moveTo>
                      <a:pt x="2338321" y="3739035"/>
                    </a:moveTo>
                    <a:lnTo>
                      <a:pt x="125957" y="3739035"/>
                    </a:lnTo>
                    <a:cubicBezTo>
                      <a:pt x="56432" y="3739035"/>
                      <a:pt x="0" y="3682603"/>
                      <a:pt x="0" y="3613078"/>
                    </a:cubicBezTo>
                    <a:lnTo>
                      <a:pt x="0" y="125957"/>
                    </a:lnTo>
                    <a:cubicBezTo>
                      <a:pt x="0" y="56432"/>
                      <a:pt x="56432" y="0"/>
                      <a:pt x="125957" y="0"/>
                    </a:cubicBezTo>
                    <a:lnTo>
                      <a:pt x="2338321" y="0"/>
                    </a:lnTo>
                    <a:cubicBezTo>
                      <a:pt x="2407846" y="0"/>
                      <a:pt x="2464278" y="56432"/>
                      <a:pt x="2464278" y="125957"/>
                    </a:cubicBezTo>
                    <a:lnTo>
                      <a:pt x="2464278" y="3613078"/>
                    </a:lnTo>
                    <a:cubicBezTo>
                      <a:pt x="2464278" y="3682603"/>
                      <a:pt x="2407846" y="3739035"/>
                      <a:pt x="2338321" y="3739035"/>
                    </a:cubicBezTo>
                    <a:close/>
                  </a:path>
                </a:pathLst>
              </a:custGeom>
              <a:solidFill>
                <a:srgbClr val="595959">
                  <a:alpha val="12000"/>
                </a:srgbClr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17" name="图形 7"/>
              <p:cNvGrpSpPr/>
              <p:nvPr/>
            </p:nvGrpSpPr>
            <p:grpSpPr>
              <a:xfrm>
                <a:off x="4689441" y="-1993915"/>
                <a:ext cx="2464277" cy="4340537"/>
                <a:chOff x="4689441" y="-1993915"/>
                <a:chExt cx="2464277" cy="4340537"/>
              </a:xfrm>
              <a:solidFill>
                <a:schemeClr val="accent1"/>
              </a:solidFill>
            </p:grpSpPr>
            <p:grpSp>
              <p:nvGrpSpPr>
                <p:cNvPr id="118" name="图形 7"/>
                <p:cNvGrpSpPr/>
                <p:nvPr/>
              </p:nvGrpSpPr>
              <p:grpSpPr>
                <a:xfrm>
                  <a:off x="4689441" y="-1993915"/>
                  <a:ext cx="2464277" cy="4340537"/>
                  <a:chOff x="4689441" y="-1993915"/>
                  <a:chExt cx="2464277" cy="4340537"/>
                </a:xfrm>
                <a:solidFill>
                  <a:schemeClr val="accent1"/>
                </a:solidFill>
              </p:grpSpPr>
              <p:sp>
                <p:nvSpPr>
                  <p:cNvPr id="127" name="iṣlîḑè"/>
                  <p:cNvSpPr/>
                  <p:nvPr/>
                </p:nvSpPr>
                <p:spPr>
                  <a:xfrm>
                    <a:off x="4689441" y="-1392412"/>
                    <a:ext cx="2464277" cy="3739034"/>
                  </a:xfrm>
                  <a:custGeom>
                    <a:avLst/>
                    <a:gdLst>
                      <a:gd name="connsiteX0" fmla="*/ 2338321 w 2464277"/>
                      <a:gd name="connsiteY0" fmla="*/ 3739035 h 3739034"/>
                      <a:gd name="connsiteX1" fmla="*/ 125957 w 2464277"/>
                      <a:gd name="connsiteY1" fmla="*/ 3739035 h 3739034"/>
                      <a:gd name="connsiteX2" fmla="*/ 0 w 2464277"/>
                      <a:gd name="connsiteY2" fmla="*/ 3613078 h 3739034"/>
                      <a:gd name="connsiteX3" fmla="*/ 0 w 2464277"/>
                      <a:gd name="connsiteY3" fmla="*/ 125957 h 3739034"/>
                      <a:gd name="connsiteX4" fmla="*/ 125957 w 2464277"/>
                      <a:gd name="connsiteY4" fmla="*/ 0 h 3739034"/>
                      <a:gd name="connsiteX5" fmla="*/ 2338321 w 2464277"/>
                      <a:gd name="connsiteY5" fmla="*/ 0 h 3739034"/>
                      <a:gd name="connsiteX6" fmla="*/ 2464278 w 2464277"/>
                      <a:gd name="connsiteY6" fmla="*/ 125957 h 3739034"/>
                      <a:gd name="connsiteX7" fmla="*/ 2464278 w 2464277"/>
                      <a:gd name="connsiteY7" fmla="*/ 3613078 h 3739034"/>
                      <a:gd name="connsiteX8" fmla="*/ 2338321 w 2464277"/>
                      <a:gd name="connsiteY8" fmla="*/ 3739035 h 37390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464277" h="3739034">
                        <a:moveTo>
                          <a:pt x="2338321" y="3739035"/>
                        </a:moveTo>
                        <a:lnTo>
                          <a:pt x="125957" y="3739035"/>
                        </a:lnTo>
                        <a:cubicBezTo>
                          <a:pt x="56432" y="3739035"/>
                          <a:pt x="0" y="3682603"/>
                          <a:pt x="0" y="3613078"/>
                        </a:cubicBezTo>
                        <a:lnTo>
                          <a:pt x="0" y="125957"/>
                        </a:lnTo>
                        <a:cubicBezTo>
                          <a:pt x="0" y="56432"/>
                          <a:pt x="56432" y="0"/>
                          <a:pt x="125957" y="0"/>
                        </a:cubicBezTo>
                        <a:lnTo>
                          <a:pt x="2338321" y="0"/>
                        </a:lnTo>
                        <a:cubicBezTo>
                          <a:pt x="2407846" y="0"/>
                          <a:pt x="2464278" y="56432"/>
                          <a:pt x="2464278" y="125957"/>
                        </a:cubicBezTo>
                        <a:lnTo>
                          <a:pt x="2464278" y="3613078"/>
                        </a:lnTo>
                        <a:cubicBezTo>
                          <a:pt x="2464278" y="3682603"/>
                          <a:pt x="2407846" y="3739035"/>
                          <a:pt x="2338321" y="3739035"/>
                        </a:cubicBezTo>
                        <a:close/>
                      </a:path>
                    </a:pathLst>
                  </a:custGeom>
                  <a:solidFill>
                    <a:srgbClr val="009EE3"/>
                  </a:solidFill>
                  <a:ln w="1308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" name="iṣḻíḋé"/>
                  <p:cNvSpPr/>
                  <p:nvPr/>
                </p:nvSpPr>
                <p:spPr>
                  <a:xfrm>
                    <a:off x="4934939" y="-1073984"/>
                    <a:ext cx="1973412" cy="3198807"/>
                  </a:xfrm>
                  <a:custGeom>
                    <a:avLst/>
                    <a:gdLst>
                      <a:gd name="connsiteX0" fmla="*/ 1905982 w 1973412"/>
                      <a:gd name="connsiteY0" fmla="*/ 0 h 3198807"/>
                      <a:gd name="connsiteX1" fmla="*/ 67430 w 1973412"/>
                      <a:gd name="connsiteY1" fmla="*/ 0 h 3198807"/>
                      <a:gd name="connsiteX2" fmla="*/ 0 w 1973412"/>
                      <a:gd name="connsiteY2" fmla="*/ 69918 h 3198807"/>
                      <a:gd name="connsiteX3" fmla="*/ 0 w 1973412"/>
                      <a:gd name="connsiteY3" fmla="*/ 3128890 h 3198807"/>
                      <a:gd name="connsiteX4" fmla="*/ 67430 w 1973412"/>
                      <a:gd name="connsiteY4" fmla="*/ 3198808 h 3198807"/>
                      <a:gd name="connsiteX5" fmla="*/ 1905982 w 1973412"/>
                      <a:gd name="connsiteY5" fmla="*/ 3198808 h 3198807"/>
                      <a:gd name="connsiteX6" fmla="*/ 1973412 w 1973412"/>
                      <a:gd name="connsiteY6" fmla="*/ 3128890 h 3198807"/>
                      <a:gd name="connsiteX7" fmla="*/ 1973412 w 1973412"/>
                      <a:gd name="connsiteY7" fmla="*/ 70049 h 3198807"/>
                      <a:gd name="connsiteX8" fmla="*/ 1905982 w 1973412"/>
                      <a:gd name="connsiteY8" fmla="*/ 0 h 319880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973412" h="3198807">
                        <a:moveTo>
                          <a:pt x="1905982" y="0"/>
                        </a:moveTo>
                        <a:lnTo>
                          <a:pt x="67430" y="0"/>
                        </a:lnTo>
                        <a:cubicBezTo>
                          <a:pt x="30245" y="0"/>
                          <a:pt x="0" y="31293"/>
                          <a:pt x="0" y="69918"/>
                        </a:cubicBezTo>
                        <a:lnTo>
                          <a:pt x="0" y="3128890"/>
                        </a:lnTo>
                        <a:cubicBezTo>
                          <a:pt x="0" y="3167515"/>
                          <a:pt x="30245" y="3198808"/>
                          <a:pt x="67430" y="3198808"/>
                        </a:cubicBezTo>
                        <a:lnTo>
                          <a:pt x="1905982" y="3198808"/>
                        </a:lnTo>
                        <a:cubicBezTo>
                          <a:pt x="1943167" y="3198808"/>
                          <a:pt x="1973412" y="3167515"/>
                          <a:pt x="1973412" y="3128890"/>
                        </a:cubicBezTo>
                        <a:lnTo>
                          <a:pt x="1973412" y="70049"/>
                        </a:lnTo>
                        <a:cubicBezTo>
                          <a:pt x="1973412" y="31293"/>
                          <a:pt x="1943167" y="0"/>
                          <a:pt x="1905982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1308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" name="îṡḻiḑé"/>
                  <p:cNvSpPr/>
                  <p:nvPr/>
                </p:nvSpPr>
                <p:spPr>
                  <a:xfrm>
                    <a:off x="5340961" y="-1926616"/>
                    <a:ext cx="1161369" cy="671813"/>
                  </a:xfrm>
                  <a:custGeom>
                    <a:avLst/>
                    <a:gdLst>
                      <a:gd name="connsiteX0" fmla="*/ 989587 w 1161369"/>
                      <a:gd name="connsiteY0" fmla="*/ 308346 h 671813"/>
                      <a:gd name="connsiteX1" fmla="*/ 741339 w 1161369"/>
                      <a:gd name="connsiteY1" fmla="*/ 308346 h 671813"/>
                      <a:gd name="connsiteX2" fmla="*/ 782059 w 1161369"/>
                      <a:gd name="connsiteY2" fmla="*/ 190899 h 671813"/>
                      <a:gd name="connsiteX3" fmla="*/ 591160 w 1161369"/>
                      <a:gd name="connsiteY3" fmla="*/ 0 h 671813"/>
                      <a:gd name="connsiteX4" fmla="*/ 400260 w 1161369"/>
                      <a:gd name="connsiteY4" fmla="*/ 190899 h 671813"/>
                      <a:gd name="connsiteX5" fmla="*/ 440980 w 1161369"/>
                      <a:gd name="connsiteY5" fmla="*/ 308346 h 671813"/>
                      <a:gd name="connsiteX6" fmla="*/ 171652 w 1161369"/>
                      <a:gd name="connsiteY6" fmla="*/ 308346 h 671813"/>
                      <a:gd name="connsiteX7" fmla="*/ 0 w 1161369"/>
                      <a:gd name="connsiteY7" fmla="*/ 671814 h 671813"/>
                      <a:gd name="connsiteX8" fmla="*/ 1161370 w 1161369"/>
                      <a:gd name="connsiteY8" fmla="*/ 671814 h 671813"/>
                      <a:gd name="connsiteX9" fmla="*/ 989587 w 1161369"/>
                      <a:gd name="connsiteY9" fmla="*/ 308346 h 671813"/>
                      <a:gd name="connsiteX10" fmla="*/ 591160 w 1161369"/>
                      <a:gd name="connsiteY10" fmla="*/ 80262 h 671813"/>
                      <a:gd name="connsiteX11" fmla="*/ 701667 w 1161369"/>
                      <a:gd name="connsiteY11" fmla="*/ 190768 h 671813"/>
                      <a:gd name="connsiteX12" fmla="*/ 591160 w 1161369"/>
                      <a:gd name="connsiteY12" fmla="*/ 301275 h 671813"/>
                      <a:gd name="connsiteX13" fmla="*/ 480653 w 1161369"/>
                      <a:gd name="connsiteY13" fmla="*/ 190768 h 671813"/>
                      <a:gd name="connsiteX14" fmla="*/ 591160 w 1161369"/>
                      <a:gd name="connsiteY14" fmla="*/ 80262 h 6718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161369" h="671813">
                        <a:moveTo>
                          <a:pt x="989587" y="308346"/>
                        </a:moveTo>
                        <a:lnTo>
                          <a:pt x="741339" y="308346"/>
                        </a:lnTo>
                        <a:cubicBezTo>
                          <a:pt x="766740" y="275874"/>
                          <a:pt x="782059" y="235154"/>
                          <a:pt x="782059" y="190899"/>
                        </a:cubicBezTo>
                        <a:cubicBezTo>
                          <a:pt x="782059" y="85630"/>
                          <a:pt x="696429" y="0"/>
                          <a:pt x="591160" y="0"/>
                        </a:cubicBezTo>
                        <a:cubicBezTo>
                          <a:pt x="485890" y="0"/>
                          <a:pt x="400260" y="85630"/>
                          <a:pt x="400260" y="190899"/>
                        </a:cubicBezTo>
                        <a:cubicBezTo>
                          <a:pt x="400260" y="235154"/>
                          <a:pt x="415579" y="275874"/>
                          <a:pt x="440980" y="308346"/>
                        </a:cubicBezTo>
                        <a:lnTo>
                          <a:pt x="171652" y="308346"/>
                        </a:lnTo>
                        <a:lnTo>
                          <a:pt x="0" y="671814"/>
                        </a:lnTo>
                        <a:lnTo>
                          <a:pt x="1161370" y="671814"/>
                        </a:lnTo>
                        <a:lnTo>
                          <a:pt x="989587" y="308346"/>
                        </a:lnTo>
                        <a:close/>
                        <a:moveTo>
                          <a:pt x="591160" y="80262"/>
                        </a:moveTo>
                        <a:cubicBezTo>
                          <a:pt x="652043" y="80262"/>
                          <a:pt x="701667" y="129885"/>
                          <a:pt x="701667" y="190768"/>
                        </a:cubicBezTo>
                        <a:cubicBezTo>
                          <a:pt x="701667" y="251652"/>
                          <a:pt x="652043" y="301275"/>
                          <a:pt x="591160" y="301275"/>
                        </a:cubicBezTo>
                        <a:cubicBezTo>
                          <a:pt x="530276" y="301275"/>
                          <a:pt x="480653" y="251652"/>
                          <a:pt x="480653" y="190768"/>
                        </a:cubicBezTo>
                        <a:cubicBezTo>
                          <a:pt x="480653" y="129885"/>
                          <a:pt x="530276" y="80262"/>
                          <a:pt x="591160" y="80262"/>
                        </a:cubicBezTo>
                        <a:close/>
                      </a:path>
                    </a:pathLst>
                  </a:custGeom>
                  <a:solidFill>
                    <a:srgbClr val="595959">
                      <a:alpha val="12000"/>
                    </a:srgbClr>
                  </a:solidFill>
                  <a:ln w="1308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" name="ïṣlíďê"/>
                  <p:cNvSpPr/>
                  <p:nvPr/>
                </p:nvSpPr>
                <p:spPr>
                  <a:xfrm>
                    <a:off x="5340961" y="-1993915"/>
                    <a:ext cx="1161369" cy="671813"/>
                  </a:xfrm>
                  <a:custGeom>
                    <a:avLst/>
                    <a:gdLst>
                      <a:gd name="connsiteX0" fmla="*/ 989587 w 1161369"/>
                      <a:gd name="connsiteY0" fmla="*/ 308346 h 671813"/>
                      <a:gd name="connsiteX1" fmla="*/ 741339 w 1161369"/>
                      <a:gd name="connsiteY1" fmla="*/ 308346 h 671813"/>
                      <a:gd name="connsiteX2" fmla="*/ 782059 w 1161369"/>
                      <a:gd name="connsiteY2" fmla="*/ 190899 h 671813"/>
                      <a:gd name="connsiteX3" fmla="*/ 591160 w 1161369"/>
                      <a:gd name="connsiteY3" fmla="*/ 0 h 671813"/>
                      <a:gd name="connsiteX4" fmla="*/ 400260 w 1161369"/>
                      <a:gd name="connsiteY4" fmla="*/ 190899 h 671813"/>
                      <a:gd name="connsiteX5" fmla="*/ 440980 w 1161369"/>
                      <a:gd name="connsiteY5" fmla="*/ 308346 h 671813"/>
                      <a:gd name="connsiteX6" fmla="*/ 171652 w 1161369"/>
                      <a:gd name="connsiteY6" fmla="*/ 308346 h 671813"/>
                      <a:gd name="connsiteX7" fmla="*/ 0 w 1161369"/>
                      <a:gd name="connsiteY7" fmla="*/ 671814 h 671813"/>
                      <a:gd name="connsiteX8" fmla="*/ 1161370 w 1161369"/>
                      <a:gd name="connsiteY8" fmla="*/ 671814 h 671813"/>
                      <a:gd name="connsiteX9" fmla="*/ 989587 w 1161369"/>
                      <a:gd name="connsiteY9" fmla="*/ 308346 h 671813"/>
                      <a:gd name="connsiteX10" fmla="*/ 591160 w 1161369"/>
                      <a:gd name="connsiteY10" fmla="*/ 80392 h 671813"/>
                      <a:gd name="connsiteX11" fmla="*/ 701667 w 1161369"/>
                      <a:gd name="connsiteY11" fmla="*/ 190899 h 671813"/>
                      <a:gd name="connsiteX12" fmla="*/ 591160 w 1161369"/>
                      <a:gd name="connsiteY12" fmla="*/ 301406 h 671813"/>
                      <a:gd name="connsiteX13" fmla="*/ 480653 w 1161369"/>
                      <a:gd name="connsiteY13" fmla="*/ 190899 h 671813"/>
                      <a:gd name="connsiteX14" fmla="*/ 591160 w 1161369"/>
                      <a:gd name="connsiteY14" fmla="*/ 80392 h 6718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161369" h="671813">
                        <a:moveTo>
                          <a:pt x="989587" y="308346"/>
                        </a:moveTo>
                        <a:lnTo>
                          <a:pt x="741339" y="308346"/>
                        </a:lnTo>
                        <a:cubicBezTo>
                          <a:pt x="766740" y="275874"/>
                          <a:pt x="782059" y="235154"/>
                          <a:pt x="782059" y="190899"/>
                        </a:cubicBezTo>
                        <a:cubicBezTo>
                          <a:pt x="782059" y="85630"/>
                          <a:pt x="696429" y="0"/>
                          <a:pt x="591160" y="0"/>
                        </a:cubicBezTo>
                        <a:cubicBezTo>
                          <a:pt x="485890" y="0"/>
                          <a:pt x="400260" y="85630"/>
                          <a:pt x="400260" y="190899"/>
                        </a:cubicBezTo>
                        <a:cubicBezTo>
                          <a:pt x="400260" y="235154"/>
                          <a:pt x="415579" y="275874"/>
                          <a:pt x="440980" y="308346"/>
                        </a:cubicBezTo>
                        <a:lnTo>
                          <a:pt x="171652" y="308346"/>
                        </a:lnTo>
                        <a:lnTo>
                          <a:pt x="0" y="671814"/>
                        </a:lnTo>
                        <a:lnTo>
                          <a:pt x="1161370" y="671814"/>
                        </a:lnTo>
                        <a:lnTo>
                          <a:pt x="989587" y="308346"/>
                        </a:lnTo>
                        <a:close/>
                        <a:moveTo>
                          <a:pt x="591160" y="80392"/>
                        </a:moveTo>
                        <a:cubicBezTo>
                          <a:pt x="652043" y="80392"/>
                          <a:pt x="701667" y="130016"/>
                          <a:pt x="701667" y="190899"/>
                        </a:cubicBezTo>
                        <a:cubicBezTo>
                          <a:pt x="701667" y="251783"/>
                          <a:pt x="652043" y="301406"/>
                          <a:pt x="591160" y="301406"/>
                        </a:cubicBezTo>
                        <a:cubicBezTo>
                          <a:pt x="530276" y="301406"/>
                          <a:pt x="480653" y="251783"/>
                          <a:pt x="480653" y="190899"/>
                        </a:cubicBezTo>
                        <a:cubicBezTo>
                          <a:pt x="480653" y="130016"/>
                          <a:pt x="530276" y="80392"/>
                          <a:pt x="591160" y="80392"/>
                        </a:cubicBezTo>
                        <a:close/>
                      </a:path>
                    </a:pathLst>
                  </a:custGeom>
                  <a:solidFill>
                    <a:srgbClr val="006ED1"/>
                  </a:solidFill>
                  <a:ln w="1308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grpSp>
              <p:nvGrpSpPr>
                <p:cNvPr id="119" name="图形 7"/>
                <p:cNvGrpSpPr/>
                <p:nvPr/>
              </p:nvGrpSpPr>
              <p:grpSpPr>
                <a:xfrm>
                  <a:off x="5074775" y="145649"/>
                  <a:ext cx="1085952" cy="426577"/>
                  <a:chOff x="5074775" y="145649"/>
                  <a:chExt cx="1085952" cy="426577"/>
                </a:xfrm>
                <a:solidFill>
                  <a:srgbClr val="7A7A7A"/>
                </a:solidFill>
              </p:grpSpPr>
              <p:grpSp>
                <p:nvGrpSpPr>
                  <p:cNvPr id="121" name="图形 7"/>
                  <p:cNvGrpSpPr/>
                  <p:nvPr/>
                </p:nvGrpSpPr>
                <p:grpSpPr>
                  <a:xfrm>
                    <a:off x="5074775" y="145649"/>
                    <a:ext cx="1085952" cy="166938"/>
                    <a:chOff x="5074775" y="145649"/>
                    <a:chExt cx="1085952" cy="166938"/>
                  </a:xfrm>
                  <a:solidFill>
                    <a:srgbClr val="7A7A7A"/>
                  </a:solidFill>
                </p:grpSpPr>
                <p:sp>
                  <p:nvSpPr>
                    <p:cNvPr id="125" name="í$ḻïḍé"/>
                    <p:cNvSpPr/>
                    <p:nvPr/>
                  </p:nvSpPr>
                  <p:spPr>
                    <a:xfrm>
                      <a:off x="5074775" y="145649"/>
                      <a:ext cx="1085952" cy="48706"/>
                    </a:xfrm>
                    <a:custGeom>
                      <a:avLst/>
                      <a:gdLst>
                        <a:gd name="connsiteX0" fmla="*/ 0 w 1085952"/>
                        <a:gd name="connsiteY0" fmla="*/ 0 h 48706"/>
                        <a:gd name="connsiteX1" fmla="*/ 1085953 w 1085952"/>
                        <a:gd name="connsiteY1" fmla="*/ 0 h 48706"/>
                        <a:gd name="connsiteX2" fmla="*/ 1085953 w 1085952"/>
                        <a:gd name="connsiteY2" fmla="*/ 48707 h 48706"/>
                        <a:gd name="connsiteX3" fmla="*/ 0 w 1085952"/>
                        <a:gd name="connsiteY3" fmla="*/ 48707 h 487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085952" h="48706">
                          <a:moveTo>
                            <a:pt x="0" y="0"/>
                          </a:moveTo>
                          <a:lnTo>
                            <a:pt x="1085953" y="0"/>
                          </a:lnTo>
                          <a:lnTo>
                            <a:pt x="1085953" y="48707"/>
                          </a:lnTo>
                          <a:lnTo>
                            <a:pt x="0" y="48707"/>
                          </a:lnTo>
                          <a:close/>
                        </a:path>
                      </a:pathLst>
                    </a:custGeom>
                    <a:solidFill>
                      <a:srgbClr val="7A7A7A"/>
                    </a:solidFill>
                    <a:ln w="1308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26" name="î$ḻïde"/>
                    <p:cNvSpPr/>
                    <p:nvPr/>
                  </p:nvSpPr>
                  <p:spPr>
                    <a:xfrm>
                      <a:off x="5074775" y="263881"/>
                      <a:ext cx="1085952" cy="48706"/>
                    </a:xfrm>
                    <a:custGeom>
                      <a:avLst/>
                      <a:gdLst>
                        <a:gd name="connsiteX0" fmla="*/ 0 w 1085952"/>
                        <a:gd name="connsiteY0" fmla="*/ 0 h 48706"/>
                        <a:gd name="connsiteX1" fmla="*/ 1085953 w 1085952"/>
                        <a:gd name="connsiteY1" fmla="*/ 0 h 48706"/>
                        <a:gd name="connsiteX2" fmla="*/ 1085953 w 1085952"/>
                        <a:gd name="connsiteY2" fmla="*/ 48707 h 48706"/>
                        <a:gd name="connsiteX3" fmla="*/ 0 w 1085952"/>
                        <a:gd name="connsiteY3" fmla="*/ 48707 h 487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085952" h="48706">
                          <a:moveTo>
                            <a:pt x="0" y="0"/>
                          </a:moveTo>
                          <a:lnTo>
                            <a:pt x="1085953" y="0"/>
                          </a:lnTo>
                          <a:lnTo>
                            <a:pt x="1085953" y="48707"/>
                          </a:lnTo>
                          <a:lnTo>
                            <a:pt x="0" y="48707"/>
                          </a:lnTo>
                          <a:close/>
                        </a:path>
                      </a:pathLst>
                    </a:custGeom>
                    <a:solidFill>
                      <a:srgbClr val="7A7A7A"/>
                    </a:solidFill>
                    <a:ln w="1308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  <p:grpSp>
                <p:nvGrpSpPr>
                  <p:cNvPr id="122" name="图形 7"/>
                  <p:cNvGrpSpPr/>
                  <p:nvPr/>
                </p:nvGrpSpPr>
                <p:grpSpPr>
                  <a:xfrm>
                    <a:off x="5074775" y="405419"/>
                    <a:ext cx="1085952" cy="166807"/>
                    <a:chOff x="5074775" y="405419"/>
                    <a:chExt cx="1085952" cy="166807"/>
                  </a:xfrm>
                  <a:solidFill>
                    <a:srgbClr val="7A7A7A"/>
                  </a:solidFill>
                </p:grpSpPr>
                <p:sp>
                  <p:nvSpPr>
                    <p:cNvPr id="123" name="íSļidê"/>
                    <p:cNvSpPr/>
                    <p:nvPr/>
                  </p:nvSpPr>
                  <p:spPr>
                    <a:xfrm>
                      <a:off x="5074775" y="405419"/>
                      <a:ext cx="1085952" cy="48706"/>
                    </a:xfrm>
                    <a:custGeom>
                      <a:avLst/>
                      <a:gdLst>
                        <a:gd name="connsiteX0" fmla="*/ 0 w 1085952"/>
                        <a:gd name="connsiteY0" fmla="*/ 0 h 48706"/>
                        <a:gd name="connsiteX1" fmla="*/ 1085953 w 1085952"/>
                        <a:gd name="connsiteY1" fmla="*/ 0 h 48706"/>
                        <a:gd name="connsiteX2" fmla="*/ 1085953 w 1085952"/>
                        <a:gd name="connsiteY2" fmla="*/ 48707 h 48706"/>
                        <a:gd name="connsiteX3" fmla="*/ 0 w 1085952"/>
                        <a:gd name="connsiteY3" fmla="*/ 48707 h 487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085952" h="48706">
                          <a:moveTo>
                            <a:pt x="0" y="0"/>
                          </a:moveTo>
                          <a:lnTo>
                            <a:pt x="1085953" y="0"/>
                          </a:lnTo>
                          <a:lnTo>
                            <a:pt x="1085953" y="48707"/>
                          </a:lnTo>
                          <a:lnTo>
                            <a:pt x="0" y="48707"/>
                          </a:lnTo>
                          <a:close/>
                        </a:path>
                      </a:pathLst>
                    </a:custGeom>
                    <a:solidFill>
                      <a:srgbClr val="7A7A7A"/>
                    </a:solidFill>
                    <a:ln w="1308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  <p:sp>
                  <p:nvSpPr>
                    <p:cNvPr id="124" name="ïṡļiḑê"/>
                    <p:cNvSpPr/>
                    <p:nvPr/>
                  </p:nvSpPr>
                  <p:spPr>
                    <a:xfrm>
                      <a:off x="5074775" y="523520"/>
                      <a:ext cx="1085952" cy="48706"/>
                    </a:xfrm>
                    <a:custGeom>
                      <a:avLst/>
                      <a:gdLst>
                        <a:gd name="connsiteX0" fmla="*/ 0 w 1085952"/>
                        <a:gd name="connsiteY0" fmla="*/ 0 h 48706"/>
                        <a:gd name="connsiteX1" fmla="*/ 1085953 w 1085952"/>
                        <a:gd name="connsiteY1" fmla="*/ 0 h 48706"/>
                        <a:gd name="connsiteX2" fmla="*/ 1085953 w 1085952"/>
                        <a:gd name="connsiteY2" fmla="*/ 48707 h 48706"/>
                        <a:gd name="connsiteX3" fmla="*/ 0 w 1085952"/>
                        <a:gd name="connsiteY3" fmla="*/ 48707 h 487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1085952" h="48706">
                          <a:moveTo>
                            <a:pt x="0" y="0"/>
                          </a:moveTo>
                          <a:lnTo>
                            <a:pt x="1085953" y="0"/>
                          </a:lnTo>
                          <a:lnTo>
                            <a:pt x="1085953" y="48707"/>
                          </a:lnTo>
                          <a:lnTo>
                            <a:pt x="0" y="48707"/>
                          </a:lnTo>
                          <a:close/>
                        </a:path>
                      </a:pathLst>
                    </a:custGeom>
                    <a:solidFill>
                      <a:srgbClr val="7A7A7A"/>
                    </a:solidFill>
                    <a:ln w="1308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zh-CN" altLang="en-US"/>
                    </a:p>
                  </p:txBody>
                </p:sp>
              </p:grpSp>
            </p:grpSp>
            <p:sp>
              <p:nvSpPr>
                <p:cNvPr id="120" name="ïṩḷïḓé"/>
                <p:cNvSpPr/>
                <p:nvPr/>
              </p:nvSpPr>
              <p:spPr>
                <a:xfrm>
                  <a:off x="5050160" y="1003125"/>
                  <a:ext cx="1658388" cy="727852"/>
                </a:xfrm>
                <a:custGeom>
                  <a:avLst/>
                  <a:gdLst>
                    <a:gd name="connsiteX0" fmla="*/ 0 w 1658388"/>
                    <a:gd name="connsiteY0" fmla="*/ 461536 h 727852"/>
                    <a:gd name="connsiteX1" fmla="*/ 206742 w 1658388"/>
                    <a:gd name="connsiteY1" fmla="*/ 461536 h 727852"/>
                    <a:gd name="connsiteX2" fmla="*/ 256366 w 1658388"/>
                    <a:gd name="connsiteY2" fmla="*/ 252307 h 727852"/>
                    <a:gd name="connsiteX3" fmla="*/ 380489 w 1658388"/>
                    <a:gd name="connsiteY3" fmla="*/ 727853 h 727852"/>
                    <a:gd name="connsiteX4" fmla="*/ 483795 w 1658388"/>
                    <a:gd name="connsiteY4" fmla="*/ 0 h 727852"/>
                    <a:gd name="connsiteX5" fmla="*/ 570734 w 1658388"/>
                    <a:gd name="connsiteY5" fmla="*/ 461536 h 727852"/>
                    <a:gd name="connsiteX6" fmla="*/ 672730 w 1658388"/>
                    <a:gd name="connsiteY6" fmla="*/ 463500 h 727852"/>
                    <a:gd name="connsiteX7" fmla="*/ 781666 w 1658388"/>
                    <a:gd name="connsiteY7" fmla="*/ 49623 h 727852"/>
                    <a:gd name="connsiteX8" fmla="*/ 951223 w 1658388"/>
                    <a:gd name="connsiteY8" fmla="*/ 727853 h 727852"/>
                    <a:gd name="connsiteX9" fmla="*/ 1054529 w 1658388"/>
                    <a:gd name="connsiteY9" fmla="*/ 214991 h 727852"/>
                    <a:gd name="connsiteX10" fmla="*/ 1137278 w 1658388"/>
                    <a:gd name="connsiteY10" fmla="*/ 545857 h 727852"/>
                    <a:gd name="connsiteX11" fmla="*/ 1203399 w 1658388"/>
                    <a:gd name="connsiteY11" fmla="*/ 363861 h 727852"/>
                    <a:gd name="connsiteX12" fmla="*/ 1273710 w 1658388"/>
                    <a:gd name="connsiteY12" fmla="*/ 698917 h 727852"/>
                    <a:gd name="connsiteX13" fmla="*/ 1368898 w 1658388"/>
                    <a:gd name="connsiteY13" fmla="*/ 260555 h 727852"/>
                    <a:gd name="connsiteX14" fmla="*/ 1418521 w 1658388"/>
                    <a:gd name="connsiteY14" fmla="*/ 479736 h 727852"/>
                    <a:gd name="connsiteX15" fmla="*/ 1658389 w 1658388"/>
                    <a:gd name="connsiteY15" fmla="*/ 479736 h 7278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658388" h="727852">
                      <a:moveTo>
                        <a:pt x="0" y="461536"/>
                      </a:moveTo>
                      <a:lnTo>
                        <a:pt x="206742" y="461536"/>
                      </a:lnTo>
                      <a:lnTo>
                        <a:pt x="256366" y="252307"/>
                      </a:lnTo>
                      <a:lnTo>
                        <a:pt x="380489" y="727853"/>
                      </a:lnTo>
                      <a:lnTo>
                        <a:pt x="483795" y="0"/>
                      </a:lnTo>
                      <a:lnTo>
                        <a:pt x="570734" y="461536"/>
                      </a:lnTo>
                      <a:lnTo>
                        <a:pt x="672730" y="463500"/>
                      </a:lnTo>
                      <a:lnTo>
                        <a:pt x="781666" y="49623"/>
                      </a:lnTo>
                      <a:lnTo>
                        <a:pt x="951223" y="727853"/>
                      </a:lnTo>
                      <a:lnTo>
                        <a:pt x="1054529" y="214991"/>
                      </a:lnTo>
                      <a:lnTo>
                        <a:pt x="1137278" y="545857"/>
                      </a:lnTo>
                      <a:lnTo>
                        <a:pt x="1203399" y="363861"/>
                      </a:lnTo>
                      <a:lnTo>
                        <a:pt x="1273710" y="698917"/>
                      </a:lnTo>
                      <a:lnTo>
                        <a:pt x="1368898" y="260555"/>
                      </a:lnTo>
                      <a:lnTo>
                        <a:pt x="1418521" y="479736"/>
                      </a:lnTo>
                      <a:lnTo>
                        <a:pt x="1658389" y="479736"/>
                      </a:lnTo>
                    </a:path>
                  </a:pathLst>
                </a:custGeom>
                <a:noFill/>
                <a:ln w="39258" cap="rnd">
                  <a:solidFill>
                    <a:srgbClr val="EF4A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0" name="图形 7"/>
            <p:cNvGrpSpPr/>
            <p:nvPr/>
          </p:nvGrpSpPr>
          <p:grpSpPr>
            <a:xfrm>
              <a:off x="4231220" y="1174820"/>
              <a:ext cx="549136" cy="534995"/>
              <a:chOff x="4231220" y="1174820"/>
              <a:chExt cx="549136" cy="534995"/>
            </a:xfrm>
            <a:solidFill>
              <a:schemeClr val="accent1"/>
            </a:solidFill>
          </p:grpSpPr>
          <p:sp>
            <p:nvSpPr>
              <p:cNvPr id="114" name="ïṧḷidè"/>
              <p:cNvSpPr/>
              <p:nvPr/>
            </p:nvSpPr>
            <p:spPr>
              <a:xfrm>
                <a:off x="4231220" y="1174820"/>
                <a:ext cx="549136" cy="534995"/>
              </a:xfrm>
              <a:custGeom>
                <a:avLst/>
                <a:gdLst>
                  <a:gd name="connsiteX0" fmla="*/ 532984 w 549136"/>
                  <a:gd name="connsiteY0" fmla="*/ 232494 h 534995"/>
                  <a:gd name="connsiteX1" fmla="*/ 532198 w 549136"/>
                  <a:gd name="connsiteY1" fmla="*/ 229744 h 534995"/>
                  <a:gd name="connsiteX2" fmla="*/ 477337 w 549136"/>
                  <a:gd name="connsiteY2" fmla="*/ 54295 h 534995"/>
                  <a:gd name="connsiteX3" fmla="*/ 344703 w 549136"/>
                  <a:gd name="connsiteY3" fmla="*/ 10564 h 534995"/>
                  <a:gd name="connsiteX4" fmla="*/ 300972 w 549136"/>
                  <a:gd name="connsiteY4" fmla="*/ 143198 h 534995"/>
                  <a:gd name="connsiteX5" fmla="*/ 337371 w 549136"/>
                  <a:gd name="connsiteY5" fmla="*/ 193083 h 534995"/>
                  <a:gd name="connsiteX6" fmla="*/ 309089 w 549136"/>
                  <a:gd name="connsiteY6" fmla="*/ 206831 h 534995"/>
                  <a:gd name="connsiteX7" fmla="*/ 234327 w 549136"/>
                  <a:gd name="connsiteY7" fmla="*/ 244540 h 534995"/>
                  <a:gd name="connsiteX8" fmla="*/ 205391 w 549136"/>
                  <a:gd name="connsiteY8" fmla="*/ 259597 h 534995"/>
                  <a:gd name="connsiteX9" fmla="*/ 186929 w 549136"/>
                  <a:gd name="connsiteY9" fmla="*/ 200546 h 534995"/>
                  <a:gd name="connsiteX10" fmla="*/ 54295 w 549136"/>
                  <a:gd name="connsiteY10" fmla="*/ 156815 h 534995"/>
                  <a:gd name="connsiteX11" fmla="*/ 10564 w 549136"/>
                  <a:gd name="connsiteY11" fmla="*/ 289449 h 534995"/>
                  <a:gd name="connsiteX12" fmla="*/ 118976 w 549136"/>
                  <a:gd name="connsiteY12" fmla="*/ 437796 h 534995"/>
                  <a:gd name="connsiteX13" fmla="*/ 125653 w 549136"/>
                  <a:gd name="connsiteY13" fmla="*/ 446306 h 534995"/>
                  <a:gd name="connsiteX14" fmla="*/ 370366 w 549136"/>
                  <a:gd name="connsiteY14" fmla="*/ 514784 h 534995"/>
                  <a:gd name="connsiteX15" fmla="*/ 445128 w 549136"/>
                  <a:gd name="connsiteY15" fmla="*/ 477076 h 534995"/>
                  <a:gd name="connsiteX16" fmla="*/ 532984 w 549136"/>
                  <a:gd name="connsiteY16" fmla="*/ 232494 h 534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49136" h="534995">
                    <a:moveTo>
                      <a:pt x="532984" y="232494"/>
                    </a:moveTo>
                    <a:cubicBezTo>
                      <a:pt x="532722" y="231577"/>
                      <a:pt x="532460" y="230661"/>
                      <a:pt x="532198" y="229744"/>
                    </a:cubicBezTo>
                    <a:lnTo>
                      <a:pt x="477337" y="54295"/>
                    </a:lnTo>
                    <a:cubicBezTo>
                      <a:pt x="452853" y="5588"/>
                      <a:pt x="393410" y="-13921"/>
                      <a:pt x="344703" y="10564"/>
                    </a:cubicBezTo>
                    <a:cubicBezTo>
                      <a:pt x="295996" y="35048"/>
                      <a:pt x="276487" y="94491"/>
                      <a:pt x="300972" y="143198"/>
                    </a:cubicBezTo>
                    <a:lnTo>
                      <a:pt x="337371" y="193083"/>
                    </a:lnTo>
                    <a:cubicBezTo>
                      <a:pt x="328075" y="197404"/>
                      <a:pt x="318647" y="201987"/>
                      <a:pt x="309089" y="206831"/>
                    </a:cubicBezTo>
                    <a:lnTo>
                      <a:pt x="234327" y="244540"/>
                    </a:lnTo>
                    <a:cubicBezTo>
                      <a:pt x="224376" y="249515"/>
                      <a:pt x="214687" y="254621"/>
                      <a:pt x="205391" y="259597"/>
                    </a:cubicBezTo>
                    <a:lnTo>
                      <a:pt x="186929" y="200546"/>
                    </a:lnTo>
                    <a:cubicBezTo>
                      <a:pt x="162445" y="151839"/>
                      <a:pt x="103002" y="132330"/>
                      <a:pt x="54295" y="156815"/>
                    </a:cubicBezTo>
                    <a:cubicBezTo>
                      <a:pt x="5588" y="181299"/>
                      <a:pt x="-13921" y="240742"/>
                      <a:pt x="10564" y="289449"/>
                    </a:cubicBezTo>
                    <a:lnTo>
                      <a:pt x="118976" y="437796"/>
                    </a:lnTo>
                    <a:cubicBezTo>
                      <a:pt x="121070" y="440807"/>
                      <a:pt x="123296" y="443688"/>
                      <a:pt x="125653" y="446306"/>
                    </a:cubicBezTo>
                    <a:cubicBezTo>
                      <a:pt x="176717" y="528139"/>
                      <a:pt x="282641" y="559039"/>
                      <a:pt x="370366" y="514784"/>
                    </a:cubicBezTo>
                    <a:lnTo>
                      <a:pt x="445128" y="477076"/>
                    </a:lnTo>
                    <a:cubicBezTo>
                      <a:pt x="535602" y="431773"/>
                      <a:pt x="573442" y="323753"/>
                      <a:pt x="532984" y="232494"/>
                    </a:cubicBezTo>
                    <a:close/>
                  </a:path>
                </a:pathLst>
              </a:custGeom>
              <a:solidFill>
                <a:srgbClr val="EF4A50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îsliḓe"/>
              <p:cNvSpPr/>
              <p:nvPr/>
            </p:nvSpPr>
            <p:spPr>
              <a:xfrm>
                <a:off x="4372797" y="1248834"/>
                <a:ext cx="302512" cy="431788"/>
              </a:xfrm>
              <a:custGeom>
                <a:avLst/>
                <a:gdLst>
                  <a:gd name="connsiteX0" fmla="*/ 263879 w 302512"/>
                  <a:gd name="connsiteY0" fmla="*/ 423879 h 431788"/>
                  <a:gd name="connsiteX1" fmla="*/ 263617 w 302512"/>
                  <a:gd name="connsiteY1" fmla="*/ 424010 h 431788"/>
                  <a:gd name="connsiteX2" fmla="*/ 176154 w 302512"/>
                  <a:gd name="connsiteY2" fmla="*/ 403061 h 431788"/>
                  <a:gd name="connsiteX3" fmla="*/ 9608 w 302512"/>
                  <a:gd name="connsiteY3" fmla="*/ 139363 h 431788"/>
                  <a:gd name="connsiteX4" fmla="*/ 55435 w 302512"/>
                  <a:gd name="connsiteY4" fmla="*/ 11049 h 431788"/>
                  <a:gd name="connsiteX5" fmla="*/ 55435 w 302512"/>
                  <a:gd name="connsiteY5" fmla="*/ 11049 h 431788"/>
                  <a:gd name="connsiteX6" fmla="*/ 185843 w 302512"/>
                  <a:gd name="connsiteY6" fmla="*/ 50460 h 431788"/>
                  <a:gd name="connsiteX7" fmla="*/ 298707 w 302512"/>
                  <a:gd name="connsiteY7" fmla="*/ 341130 h 431788"/>
                  <a:gd name="connsiteX8" fmla="*/ 263879 w 302512"/>
                  <a:gd name="connsiteY8" fmla="*/ 423879 h 431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2512" h="431788">
                    <a:moveTo>
                      <a:pt x="263879" y="423879"/>
                    </a:moveTo>
                    <a:lnTo>
                      <a:pt x="263617" y="424010"/>
                    </a:lnTo>
                    <a:cubicBezTo>
                      <a:pt x="232324" y="439853"/>
                      <a:pt x="194616" y="430818"/>
                      <a:pt x="176154" y="403061"/>
                    </a:cubicBezTo>
                    <a:lnTo>
                      <a:pt x="9608" y="139363"/>
                    </a:lnTo>
                    <a:cubicBezTo>
                      <a:pt x="-13698" y="93013"/>
                      <a:pt x="6859" y="35664"/>
                      <a:pt x="55435" y="11049"/>
                    </a:cubicBezTo>
                    <a:lnTo>
                      <a:pt x="55435" y="11049"/>
                    </a:lnTo>
                    <a:cubicBezTo>
                      <a:pt x="104141" y="-13435"/>
                      <a:pt x="162537" y="4110"/>
                      <a:pt x="185843" y="50460"/>
                    </a:cubicBezTo>
                    <a:lnTo>
                      <a:pt x="298707" y="341130"/>
                    </a:lnTo>
                    <a:cubicBezTo>
                      <a:pt x="310098" y="372553"/>
                      <a:pt x="295172" y="408036"/>
                      <a:pt x="263879" y="423879"/>
                    </a:cubicBezTo>
                    <a:close/>
                  </a:path>
                </a:pathLst>
              </a:custGeom>
              <a:solidFill>
                <a:srgbClr val="FC8B9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1" name="图形 7"/>
            <p:cNvGrpSpPr/>
            <p:nvPr/>
          </p:nvGrpSpPr>
          <p:grpSpPr>
            <a:xfrm>
              <a:off x="7193707" y="-283509"/>
              <a:ext cx="330251" cy="325351"/>
              <a:chOff x="7193707" y="-283509"/>
              <a:chExt cx="330251" cy="325351"/>
            </a:xfrm>
            <a:solidFill>
              <a:schemeClr val="accent1"/>
            </a:solidFill>
          </p:grpSpPr>
          <p:sp>
            <p:nvSpPr>
              <p:cNvPr id="112" name="îŝlïḑé"/>
              <p:cNvSpPr/>
              <p:nvPr/>
            </p:nvSpPr>
            <p:spPr>
              <a:xfrm>
                <a:off x="7193707" y="-283509"/>
                <a:ext cx="330251" cy="325351"/>
              </a:xfrm>
              <a:custGeom>
                <a:avLst/>
                <a:gdLst>
                  <a:gd name="connsiteX0" fmla="*/ 247277 w 330251"/>
                  <a:gd name="connsiteY0" fmla="*/ 277147 h 325351"/>
                  <a:gd name="connsiteX1" fmla="*/ 248456 w 330251"/>
                  <a:gd name="connsiteY1" fmla="*/ 275837 h 325351"/>
                  <a:gd name="connsiteX2" fmla="*/ 321254 w 330251"/>
                  <a:gd name="connsiteY2" fmla="*/ 193481 h 325351"/>
                  <a:gd name="connsiteX3" fmla="*/ 302662 w 330251"/>
                  <a:gd name="connsiteY3" fmla="*/ 112172 h 325351"/>
                  <a:gd name="connsiteX4" fmla="*/ 221353 w 330251"/>
                  <a:gd name="connsiteY4" fmla="*/ 130764 h 325351"/>
                  <a:gd name="connsiteX5" fmla="*/ 207081 w 330251"/>
                  <a:gd name="connsiteY5" fmla="*/ 164807 h 325351"/>
                  <a:gd name="connsiteX6" fmla="*/ 191238 w 330251"/>
                  <a:gd name="connsiteY6" fmla="*/ 154594 h 325351"/>
                  <a:gd name="connsiteX7" fmla="*/ 148816 w 330251"/>
                  <a:gd name="connsiteY7" fmla="*/ 128015 h 325351"/>
                  <a:gd name="connsiteX8" fmla="*/ 132188 w 330251"/>
                  <a:gd name="connsiteY8" fmla="*/ 117933 h 325351"/>
                  <a:gd name="connsiteX9" fmla="*/ 156672 w 330251"/>
                  <a:gd name="connsiteY9" fmla="*/ 90306 h 325351"/>
                  <a:gd name="connsiteX10" fmla="*/ 138080 w 330251"/>
                  <a:gd name="connsiteY10" fmla="*/ 8997 h 325351"/>
                  <a:gd name="connsiteX11" fmla="*/ 56771 w 330251"/>
                  <a:gd name="connsiteY11" fmla="*/ 27590 h 325351"/>
                  <a:gd name="connsiteX12" fmla="*/ 14349 w 330251"/>
                  <a:gd name="connsiteY12" fmla="*/ 128931 h 325351"/>
                  <a:gd name="connsiteX13" fmla="*/ 12123 w 330251"/>
                  <a:gd name="connsiteY13" fmla="*/ 134954 h 325351"/>
                  <a:gd name="connsiteX14" fmla="*/ 52843 w 330251"/>
                  <a:gd name="connsiteY14" fmla="*/ 281337 h 325351"/>
                  <a:gd name="connsiteX15" fmla="*/ 95265 w 330251"/>
                  <a:gd name="connsiteY15" fmla="*/ 307916 h 325351"/>
                  <a:gd name="connsiteX16" fmla="*/ 247277 w 330251"/>
                  <a:gd name="connsiteY16" fmla="*/ 277147 h 325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30251" h="325351">
                    <a:moveTo>
                      <a:pt x="247277" y="277147"/>
                    </a:moveTo>
                    <a:cubicBezTo>
                      <a:pt x="247670" y="276754"/>
                      <a:pt x="248063" y="276361"/>
                      <a:pt x="248456" y="275837"/>
                    </a:cubicBezTo>
                    <a:lnTo>
                      <a:pt x="321254" y="193481"/>
                    </a:lnTo>
                    <a:cubicBezTo>
                      <a:pt x="338537" y="165854"/>
                      <a:pt x="330158" y="129455"/>
                      <a:pt x="302662" y="112172"/>
                    </a:cubicBezTo>
                    <a:cubicBezTo>
                      <a:pt x="275035" y="94889"/>
                      <a:pt x="238636" y="103269"/>
                      <a:pt x="221353" y="130764"/>
                    </a:cubicBezTo>
                    <a:lnTo>
                      <a:pt x="207081" y="164807"/>
                    </a:lnTo>
                    <a:cubicBezTo>
                      <a:pt x="201975" y="161402"/>
                      <a:pt x="196738" y="157998"/>
                      <a:pt x="191238" y="154594"/>
                    </a:cubicBezTo>
                    <a:lnTo>
                      <a:pt x="148816" y="128015"/>
                    </a:lnTo>
                    <a:cubicBezTo>
                      <a:pt x="143186" y="124480"/>
                      <a:pt x="137687" y="121075"/>
                      <a:pt x="132188" y="117933"/>
                    </a:cubicBezTo>
                    <a:lnTo>
                      <a:pt x="156672" y="90306"/>
                    </a:lnTo>
                    <a:cubicBezTo>
                      <a:pt x="173955" y="62680"/>
                      <a:pt x="165576" y="26280"/>
                      <a:pt x="138080" y="8997"/>
                    </a:cubicBezTo>
                    <a:cubicBezTo>
                      <a:pt x="110453" y="-8286"/>
                      <a:pt x="74054" y="94"/>
                      <a:pt x="56771" y="27590"/>
                    </a:cubicBezTo>
                    <a:lnTo>
                      <a:pt x="14349" y="128931"/>
                    </a:lnTo>
                    <a:cubicBezTo>
                      <a:pt x="13432" y="130895"/>
                      <a:pt x="12647" y="132990"/>
                      <a:pt x="12123" y="134954"/>
                    </a:cubicBezTo>
                    <a:cubicBezTo>
                      <a:pt x="-13932" y="186411"/>
                      <a:pt x="3089" y="250044"/>
                      <a:pt x="52843" y="281337"/>
                    </a:cubicBezTo>
                    <a:lnTo>
                      <a:pt x="95265" y="307916"/>
                    </a:lnTo>
                    <a:cubicBezTo>
                      <a:pt x="146067" y="340256"/>
                      <a:pt x="213104" y="326246"/>
                      <a:pt x="247277" y="277147"/>
                    </a:cubicBezTo>
                    <a:close/>
                  </a:path>
                </a:pathLst>
              </a:custGeom>
              <a:solidFill>
                <a:srgbClr val="EF4A50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ïṧļíḍè"/>
              <p:cNvSpPr/>
              <p:nvPr/>
            </p:nvSpPr>
            <p:spPr>
              <a:xfrm>
                <a:off x="7245765" y="-232979"/>
                <a:ext cx="195216" cy="250185"/>
              </a:xfrm>
              <a:custGeom>
                <a:avLst/>
                <a:gdLst>
                  <a:gd name="connsiteX0" fmla="*/ 20032 w 195216"/>
                  <a:gd name="connsiteY0" fmla="*/ 243639 h 250185"/>
                  <a:gd name="connsiteX1" fmla="*/ 19901 w 195216"/>
                  <a:gd name="connsiteY1" fmla="*/ 243508 h 250185"/>
                  <a:gd name="connsiteX2" fmla="*/ 3535 w 195216"/>
                  <a:gd name="connsiteY2" fmla="*/ 192313 h 250185"/>
                  <a:gd name="connsiteX3" fmla="*/ 86939 w 195216"/>
                  <a:gd name="connsiteY3" fmla="*/ 25636 h 250185"/>
                  <a:gd name="connsiteX4" fmla="*/ 166808 w 195216"/>
                  <a:gd name="connsiteY4" fmla="*/ 9401 h 250185"/>
                  <a:gd name="connsiteX5" fmla="*/ 166808 w 195216"/>
                  <a:gd name="connsiteY5" fmla="*/ 9401 h 250185"/>
                  <a:gd name="connsiteX6" fmla="*/ 186971 w 195216"/>
                  <a:gd name="connsiteY6" fmla="*/ 88353 h 250185"/>
                  <a:gd name="connsiteX7" fmla="*/ 73191 w 195216"/>
                  <a:gd name="connsiteY7" fmla="*/ 236045 h 250185"/>
                  <a:gd name="connsiteX8" fmla="*/ 20032 w 195216"/>
                  <a:gd name="connsiteY8" fmla="*/ 243639 h 250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5216" h="250185">
                    <a:moveTo>
                      <a:pt x="20032" y="243639"/>
                    </a:moveTo>
                    <a:lnTo>
                      <a:pt x="19901" y="243508"/>
                    </a:lnTo>
                    <a:cubicBezTo>
                      <a:pt x="2094" y="232379"/>
                      <a:pt x="-4845" y="210382"/>
                      <a:pt x="3535" y="192313"/>
                    </a:cubicBezTo>
                    <a:lnTo>
                      <a:pt x="86939" y="25636"/>
                    </a:lnTo>
                    <a:cubicBezTo>
                      <a:pt x="103436" y="-681"/>
                      <a:pt x="139181" y="-7882"/>
                      <a:pt x="166808" y="9401"/>
                    </a:cubicBezTo>
                    <a:lnTo>
                      <a:pt x="166808" y="9401"/>
                    </a:lnTo>
                    <a:cubicBezTo>
                      <a:pt x="194434" y="26684"/>
                      <a:pt x="203468" y="62036"/>
                      <a:pt x="186971" y="88353"/>
                    </a:cubicBezTo>
                    <a:lnTo>
                      <a:pt x="73191" y="236045"/>
                    </a:lnTo>
                    <a:cubicBezTo>
                      <a:pt x="60490" y="251364"/>
                      <a:pt x="37708" y="254768"/>
                      <a:pt x="20032" y="243639"/>
                    </a:cubicBezTo>
                    <a:close/>
                  </a:path>
                </a:pathLst>
              </a:custGeom>
              <a:solidFill>
                <a:srgbClr val="FC8B9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2" name="图形 7"/>
            <p:cNvGrpSpPr/>
            <p:nvPr/>
          </p:nvGrpSpPr>
          <p:grpSpPr>
            <a:xfrm>
              <a:off x="4025047" y="-1646163"/>
              <a:ext cx="1052980" cy="587918"/>
              <a:chOff x="4025047" y="-1646163"/>
              <a:chExt cx="1052980" cy="587918"/>
            </a:xfrm>
            <a:solidFill>
              <a:srgbClr val="FFFFFF"/>
            </a:solidFill>
          </p:grpSpPr>
          <p:sp>
            <p:nvSpPr>
              <p:cNvPr id="88" name="íṡļiḋê"/>
              <p:cNvSpPr/>
              <p:nvPr/>
            </p:nvSpPr>
            <p:spPr>
              <a:xfrm>
                <a:off x="4564519" y="-1341550"/>
                <a:ext cx="56522" cy="30851"/>
              </a:xfrm>
              <a:custGeom>
                <a:avLst/>
                <a:gdLst>
                  <a:gd name="connsiteX0" fmla="*/ 11797 w 56522"/>
                  <a:gd name="connsiteY0" fmla="*/ 30185 h 30851"/>
                  <a:gd name="connsiteX1" fmla="*/ 27771 w 56522"/>
                  <a:gd name="connsiteY1" fmla="*/ 30840 h 30851"/>
                  <a:gd name="connsiteX2" fmla="*/ 45446 w 56522"/>
                  <a:gd name="connsiteY2" fmla="*/ 29530 h 30851"/>
                  <a:gd name="connsiteX3" fmla="*/ 42697 w 56522"/>
                  <a:gd name="connsiteY3" fmla="*/ 201 h 30851"/>
                  <a:gd name="connsiteX4" fmla="*/ 25021 w 56522"/>
                  <a:gd name="connsiteY4" fmla="*/ 2035 h 30851"/>
                  <a:gd name="connsiteX5" fmla="*/ 9440 w 56522"/>
                  <a:gd name="connsiteY5" fmla="*/ 5308 h 30851"/>
                  <a:gd name="connsiteX6" fmla="*/ 11797 w 56522"/>
                  <a:gd name="connsiteY6" fmla="*/ 30185 h 30851"/>
                  <a:gd name="connsiteX7" fmla="*/ 11797 w 56522"/>
                  <a:gd name="connsiteY7" fmla="*/ 30185 h 30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6522" h="30851">
                    <a:moveTo>
                      <a:pt x="11797" y="30185"/>
                    </a:moveTo>
                    <a:cubicBezTo>
                      <a:pt x="17165" y="30840"/>
                      <a:pt x="22271" y="30840"/>
                      <a:pt x="27771" y="30840"/>
                    </a:cubicBezTo>
                    <a:cubicBezTo>
                      <a:pt x="33532" y="30709"/>
                      <a:pt x="39947" y="31363"/>
                      <a:pt x="45446" y="29530"/>
                    </a:cubicBezTo>
                    <a:cubicBezTo>
                      <a:pt x="61813" y="24293"/>
                      <a:pt x="59325" y="2558"/>
                      <a:pt x="42697" y="201"/>
                    </a:cubicBezTo>
                    <a:cubicBezTo>
                      <a:pt x="37067" y="-584"/>
                      <a:pt x="30782" y="1118"/>
                      <a:pt x="25021" y="2035"/>
                    </a:cubicBezTo>
                    <a:cubicBezTo>
                      <a:pt x="19653" y="2820"/>
                      <a:pt x="14677" y="3737"/>
                      <a:pt x="9440" y="5308"/>
                    </a:cubicBezTo>
                    <a:cubicBezTo>
                      <a:pt x="-4439" y="9367"/>
                      <a:pt x="-2475" y="28483"/>
                      <a:pt x="11797" y="30185"/>
                    </a:cubicBezTo>
                    <a:lnTo>
                      <a:pt x="11797" y="30185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9" name="ïŝļídè"/>
              <p:cNvSpPr/>
              <p:nvPr/>
            </p:nvSpPr>
            <p:spPr>
              <a:xfrm>
                <a:off x="4686781" y="-1262038"/>
                <a:ext cx="41257" cy="31098"/>
              </a:xfrm>
              <a:custGeom>
                <a:avLst/>
                <a:gdLst>
                  <a:gd name="connsiteX0" fmla="*/ 5541 w 41257"/>
                  <a:gd name="connsiteY0" fmla="*/ 23603 h 31098"/>
                  <a:gd name="connsiteX1" fmla="*/ 25835 w 41257"/>
                  <a:gd name="connsiteY1" fmla="*/ 31066 h 31098"/>
                  <a:gd name="connsiteX2" fmla="*/ 41024 w 41257"/>
                  <a:gd name="connsiteY2" fmla="*/ 18758 h 31098"/>
                  <a:gd name="connsiteX3" fmla="*/ 31073 w 41257"/>
                  <a:gd name="connsiteY3" fmla="*/ 1999 h 31098"/>
                  <a:gd name="connsiteX4" fmla="*/ 9600 w 41257"/>
                  <a:gd name="connsiteY4" fmla="*/ 951 h 31098"/>
                  <a:gd name="connsiteX5" fmla="*/ 304 w 41257"/>
                  <a:gd name="connsiteY5" fmla="*/ 10902 h 31098"/>
                  <a:gd name="connsiteX6" fmla="*/ 5541 w 41257"/>
                  <a:gd name="connsiteY6" fmla="*/ 23603 h 31098"/>
                  <a:gd name="connsiteX7" fmla="*/ 5541 w 41257"/>
                  <a:gd name="connsiteY7" fmla="*/ 23603 h 31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257" h="31098">
                    <a:moveTo>
                      <a:pt x="5541" y="23603"/>
                    </a:moveTo>
                    <a:cubicBezTo>
                      <a:pt x="10778" y="27792"/>
                      <a:pt x="19158" y="30542"/>
                      <a:pt x="25835" y="31066"/>
                    </a:cubicBezTo>
                    <a:cubicBezTo>
                      <a:pt x="33168" y="31589"/>
                      <a:pt x="39714" y="25698"/>
                      <a:pt x="41024" y="18758"/>
                    </a:cubicBezTo>
                    <a:cubicBezTo>
                      <a:pt x="42333" y="11295"/>
                      <a:pt x="38012" y="4617"/>
                      <a:pt x="31073" y="1999"/>
                    </a:cubicBezTo>
                    <a:cubicBezTo>
                      <a:pt x="24788" y="-227"/>
                      <a:pt x="15885" y="-620"/>
                      <a:pt x="9600" y="951"/>
                    </a:cubicBezTo>
                    <a:cubicBezTo>
                      <a:pt x="4755" y="2261"/>
                      <a:pt x="1089" y="5927"/>
                      <a:pt x="304" y="10902"/>
                    </a:cubicBezTo>
                    <a:cubicBezTo>
                      <a:pt x="-875" y="16270"/>
                      <a:pt x="1482" y="20329"/>
                      <a:pt x="5541" y="23603"/>
                    </a:cubicBezTo>
                    <a:lnTo>
                      <a:pt x="5541" y="2360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" name="íśḻiḑê"/>
              <p:cNvSpPr/>
              <p:nvPr/>
            </p:nvSpPr>
            <p:spPr>
              <a:xfrm>
                <a:off x="4713138" y="-1335012"/>
                <a:ext cx="47853" cy="29069"/>
              </a:xfrm>
              <a:custGeom>
                <a:avLst/>
                <a:gdLst>
                  <a:gd name="connsiteX0" fmla="*/ 11132 w 47853"/>
                  <a:gd name="connsiteY0" fmla="*/ 28885 h 29069"/>
                  <a:gd name="connsiteX1" fmla="*/ 23046 w 47853"/>
                  <a:gd name="connsiteY1" fmla="*/ 29016 h 29069"/>
                  <a:gd name="connsiteX2" fmla="*/ 37056 w 47853"/>
                  <a:gd name="connsiteY2" fmla="*/ 27837 h 29069"/>
                  <a:gd name="connsiteX3" fmla="*/ 47793 w 47853"/>
                  <a:gd name="connsiteY3" fmla="*/ 12780 h 29069"/>
                  <a:gd name="connsiteX4" fmla="*/ 34438 w 47853"/>
                  <a:gd name="connsiteY4" fmla="*/ 80 h 29069"/>
                  <a:gd name="connsiteX5" fmla="*/ 8775 w 47853"/>
                  <a:gd name="connsiteY5" fmla="*/ 5317 h 29069"/>
                  <a:gd name="connsiteX6" fmla="*/ 11132 w 47853"/>
                  <a:gd name="connsiteY6" fmla="*/ 28885 h 29069"/>
                  <a:gd name="connsiteX7" fmla="*/ 11132 w 47853"/>
                  <a:gd name="connsiteY7" fmla="*/ 28885 h 29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853" h="29069">
                    <a:moveTo>
                      <a:pt x="11132" y="28885"/>
                    </a:moveTo>
                    <a:cubicBezTo>
                      <a:pt x="15190" y="29016"/>
                      <a:pt x="19118" y="29146"/>
                      <a:pt x="23046" y="29016"/>
                    </a:cubicBezTo>
                    <a:cubicBezTo>
                      <a:pt x="27629" y="28885"/>
                      <a:pt x="32735" y="29277"/>
                      <a:pt x="37056" y="27837"/>
                    </a:cubicBezTo>
                    <a:cubicBezTo>
                      <a:pt x="43734" y="25611"/>
                      <a:pt x="48447" y="20243"/>
                      <a:pt x="47793" y="12780"/>
                    </a:cubicBezTo>
                    <a:cubicBezTo>
                      <a:pt x="47138" y="5710"/>
                      <a:pt x="41508" y="603"/>
                      <a:pt x="34438" y="80"/>
                    </a:cubicBezTo>
                    <a:cubicBezTo>
                      <a:pt x="26189" y="-575"/>
                      <a:pt x="16631" y="2960"/>
                      <a:pt x="8775" y="5317"/>
                    </a:cubicBezTo>
                    <a:cubicBezTo>
                      <a:pt x="-3664" y="9114"/>
                      <a:pt x="-2878" y="28230"/>
                      <a:pt x="11132" y="28885"/>
                    </a:cubicBezTo>
                    <a:lnTo>
                      <a:pt x="11132" y="28885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îṣļîḑê"/>
              <p:cNvSpPr/>
              <p:nvPr/>
            </p:nvSpPr>
            <p:spPr>
              <a:xfrm>
                <a:off x="4568386" y="-1460203"/>
                <a:ext cx="37532" cy="29165"/>
              </a:xfrm>
              <a:custGeom>
                <a:avLst/>
                <a:gdLst>
                  <a:gd name="connsiteX0" fmla="*/ 4394 w 37532"/>
                  <a:gd name="connsiteY0" fmla="*/ 22227 h 29165"/>
                  <a:gd name="connsiteX1" fmla="*/ 18666 w 37532"/>
                  <a:gd name="connsiteY1" fmla="*/ 28381 h 29165"/>
                  <a:gd name="connsiteX2" fmla="*/ 37520 w 37532"/>
                  <a:gd name="connsiteY2" fmla="*/ 15157 h 29165"/>
                  <a:gd name="connsiteX3" fmla="*/ 19714 w 37532"/>
                  <a:gd name="connsiteY3" fmla="*/ 493 h 29165"/>
                  <a:gd name="connsiteX4" fmla="*/ 5049 w 37532"/>
                  <a:gd name="connsiteY4" fmla="*/ 5468 h 29165"/>
                  <a:gd name="connsiteX5" fmla="*/ 4394 w 37532"/>
                  <a:gd name="connsiteY5" fmla="*/ 22227 h 29165"/>
                  <a:gd name="connsiteX6" fmla="*/ 4394 w 37532"/>
                  <a:gd name="connsiteY6" fmla="*/ 22227 h 291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532" h="29165">
                    <a:moveTo>
                      <a:pt x="4394" y="22227"/>
                    </a:moveTo>
                    <a:cubicBezTo>
                      <a:pt x="8977" y="24977"/>
                      <a:pt x="13691" y="26548"/>
                      <a:pt x="18666" y="28381"/>
                    </a:cubicBezTo>
                    <a:cubicBezTo>
                      <a:pt x="27569" y="31654"/>
                      <a:pt x="37258" y="24191"/>
                      <a:pt x="37520" y="15157"/>
                    </a:cubicBezTo>
                    <a:cubicBezTo>
                      <a:pt x="37913" y="6123"/>
                      <a:pt x="28879" y="-2126"/>
                      <a:pt x="19714" y="493"/>
                    </a:cubicBezTo>
                    <a:cubicBezTo>
                      <a:pt x="14607" y="1933"/>
                      <a:pt x="9763" y="3111"/>
                      <a:pt x="5049" y="5468"/>
                    </a:cubicBezTo>
                    <a:cubicBezTo>
                      <a:pt x="-1367" y="8610"/>
                      <a:pt x="-1759" y="18561"/>
                      <a:pt x="4394" y="22227"/>
                    </a:cubicBezTo>
                    <a:lnTo>
                      <a:pt x="4394" y="22227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îşḻíďê"/>
              <p:cNvSpPr/>
              <p:nvPr/>
            </p:nvSpPr>
            <p:spPr>
              <a:xfrm>
                <a:off x="4405959" y="-1409113"/>
                <a:ext cx="37128" cy="35193"/>
              </a:xfrm>
              <a:custGeom>
                <a:avLst/>
                <a:gdLst>
                  <a:gd name="connsiteX0" fmla="*/ 275 w 37128"/>
                  <a:gd name="connsiteY0" fmla="*/ 9500 h 35193"/>
                  <a:gd name="connsiteX1" fmla="*/ 1454 w 37128"/>
                  <a:gd name="connsiteY1" fmla="*/ 14737 h 35193"/>
                  <a:gd name="connsiteX2" fmla="*/ 6167 w 37128"/>
                  <a:gd name="connsiteY2" fmla="*/ 23248 h 35193"/>
                  <a:gd name="connsiteX3" fmla="*/ 19261 w 37128"/>
                  <a:gd name="connsiteY3" fmla="*/ 34377 h 35193"/>
                  <a:gd name="connsiteX4" fmla="*/ 35496 w 37128"/>
                  <a:gd name="connsiteY4" fmla="*/ 14868 h 35193"/>
                  <a:gd name="connsiteX5" fmla="*/ 22403 w 37128"/>
                  <a:gd name="connsiteY5" fmla="*/ 3739 h 35193"/>
                  <a:gd name="connsiteX6" fmla="*/ 13761 w 37128"/>
                  <a:gd name="connsiteY6" fmla="*/ 596 h 35193"/>
                  <a:gd name="connsiteX7" fmla="*/ 10095 w 37128"/>
                  <a:gd name="connsiteY7" fmla="*/ 465 h 35193"/>
                  <a:gd name="connsiteX8" fmla="*/ 8000 w 37128"/>
                  <a:gd name="connsiteY8" fmla="*/ 72 h 35193"/>
                  <a:gd name="connsiteX9" fmla="*/ 275 w 37128"/>
                  <a:gd name="connsiteY9" fmla="*/ 9500 h 35193"/>
                  <a:gd name="connsiteX10" fmla="*/ 275 w 37128"/>
                  <a:gd name="connsiteY10" fmla="*/ 9500 h 35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7128" h="35193">
                    <a:moveTo>
                      <a:pt x="275" y="9500"/>
                    </a:moveTo>
                    <a:cubicBezTo>
                      <a:pt x="799" y="10940"/>
                      <a:pt x="930" y="12642"/>
                      <a:pt x="1454" y="14737"/>
                    </a:cubicBezTo>
                    <a:cubicBezTo>
                      <a:pt x="2370" y="18141"/>
                      <a:pt x="4072" y="20367"/>
                      <a:pt x="6167" y="23248"/>
                    </a:cubicBezTo>
                    <a:cubicBezTo>
                      <a:pt x="9833" y="28223"/>
                      <a:pt x="13369" y="32020"/>
                      <a:pt x="19261" y="34377"/>
                    </a:cubicBezTo>
                    <a:cubicBezTo>
                      <a:pt x="30259" y="38697"/>
                      <a:pt x="41388" y="24950"/>
                      <a:pt x="35496" y="14868"/>
                    </a:cubicBezTo>
                    <a:cubicBezTo>
                      <a:pt x="32223" y="9369"/>
                      <a:pt x="27902" y="6619"/>
                      <a:pt x="22403" y="3739"/>
                    </a:cubicBezTo>
                    <a:cubicBezTo>
                      <a:pt x="19522" y="2167"/>
                      <a:pt x="16904" y="989"/>
                      <a:pt x="13761" y="596"/>
                    </a:cubicBezTo>
                    <a:cubicBezTo>
                      <a:pt x="12583" y="465"/>
                      <a:pt x="11274" y="465"/>
                      <a:pt x="10095" y="465"/>
                    </a:cubicBezTo>
                    <a:cubicBezTo>
                      <a:pt x="6298" y="465"/>
                      <a:pt x="11274" y="727"/>
                      <a:pt x="8000" y="72"/>
                    </a:cubicBezTo>
                    <a:cubicBezTo>
                      <a:pt x="3287" y="-713"/>
                      <a:pt x="-1165" y="5048"/>
                      <a:pt x="275" y="9500"/>
                    </a:cubicBezTo>
                    <a:lnTo>
                      <a:pt x="275" y="9500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ïṡlíďé"/>
              <p:cNvSpPr/>
              <p:nvPr/>
            </p:nvSpPr>
            <p:spPr>
              <a:xfrm>
                <a:off x="4400813" y="-1235682"/>
                <a:ext cx="37643" cy="42404"/>
              </a:xfrm>
              <a:custGeom>
                <a:avLst/>
                <a:gdLst>
                  <a:gd name="connsiteX0" fmla="*/ 1363 w 37643"/>
                  <a:gd name="connsiteY0" fmla="*/ 18589 h 42404"/>
                  <a:gd name="connsiteX1" fmla="*/ 15372 w 37643"/>
                  <a:gd name="connsiteY1" fmla="*/ 40062 h 42404"/>
                  <a:gd name="connsiteX2" fmla="*/ 37238 w 37643"/>
                  <a:gd name="connsiteY2" fmla="*/ 24612 h 42404"/>
                  <a:gd name="connsiteX3" fmla="*/ 22050 w 37643"/>
                  <a:gd name="connsiteY3" fmla="*/ 4056 h 42404"/>
                  <a:gd name="connsiteX4" fmla="*/ 5422 w 37643"/>
                  <a:gd name="connsiteY4" fmla="*/ 2353 h 42404"/>
                  <a:gd name="connsiteX5" fmla="*/ 1363 w 37643"/>
                  <a:gd name="connsiteY5" fmla="*/ 18589 h 42404"/>
                  <a:gd name="connsiteX6" fmla="*/ 1363 w 37643"/>
                  <a:gd name="connsiteY6" fmla="*/ 18589 h 42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643" h="42404">
                    <a:moveTo>
                      <a:pt x="1363" y="18589"/>
                    </a:moveTo>
                    <a:cubicBezTo>
                      <a:pt x="5160" y="26183"/>
                      <a:pt x="8040" y="34956"/>
                      <a:pt x="15372" y="40062"/>
                    </a:cubicBezTo>
                    <a:cubicBezTo>
                      <a:pt x="25847" y="47263"/>
                      <a:pt x="40250" y="36658"/>
                      <a:pt x="37238" y="24612"/>
                    </a:cubicBezTo>
                    <a:cubicBezTo>
                      <a:pt x="35143" y="16232"/>
                      <a:pt x="27680" y="10078"/>
                      <a:pt x="22050" y="4056"/>
                    </a:cubicBezTo>
                    <a:cubicBezTo>
                      <a:pt x="17729" y="-658"/>
                      <a:pt x="10528" y="-1313"/>
                      <a:pt x="5422" y="2353"/>
                    </a:cubicBezTo>
                    <a:cubicBezTo>
                      <a:pt x="53" y="6019"/>
                      <a:pt x="-1387" y="12828"/>
                      <a:pt x="1363" y="18589"/>
                    </a:cubicBezTo>
                    <a:lnTo>
                      <a:pt x="1363" y="1858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îṥḻiḋê"/>
              <p:cNvSpPr/>
              <p:nvPr/>
            </p:nvSpPr>
            <p:spPr>
              <a:xfrm>
                <a:off x="4518843" y="-1255173"/>
                <a:ext cx="36332" cy="36348"/>
              </a:xfrm>
              <a:custGeom>
                <a:avLst/>
                <a:gdLst>
                  <a:gd name="connsiteX0" fmla="*/ 13348 w 36332"/>
                  <a:gd name="connsiteY0" fmla="*/ 28391 h 36348"/>
                  <a:gd name="connsiteX1" fmla="*/ 9159 w 36332"/>
                  <a:gd name="connsiteY1" fmla="*/ 26820 h 36348"/>
                  <a:gd name="connsiteX2" fmla="*/ 7457 w 36332"/>
                  <a:gd name="connsiteY2" fmla="*/ 25380 h 36348"/>
                  <a:gd name="connsiteX3" fmla="*/ 7326 w 36332"/>
                  <a:gd name="connsiteY3" fmla="*/ 24987 h 36348"/>
                  <a:gd name="connsiteX4" fmla="*/ 6278 w 36332"/>
                  <a:gd name="connsiteY4" fmla="*/ 23023 h 36348"/>
                  <a:gd name="connsiteX5" fmla="*/ 5885 w 36332"/>
                  <a:gd name="connsiteY5" fmla="*/ 22237 h 36348"/>
                  <a:gd name="connsiteX6" fmla="*/ 5754 w 36332"/>
                  <a:gd name="connsiteY6" fmla="*/ 20797 h 36348"/>
                  <a:gd name="connsiteX7" fmla="*/ 18324 w 36332"/>
                  <a:gd name="connsiteY7" fmla="*/ 36116 h 36348"/>
                  <a:gd name="connsiteX8" fmla="*/ 35345 w 36332"/>
                  <a:gd name="connsiteY8" fmla="*/ 25903 h 36348"/>
                  <a:gd name="connsiteX9" fmla="*/ 7326 w 36332"/>
                  <a:gd name="connsiteY9" fmla="*/ 2466 h 36348"/>
                  <a:gd name="connsiteX10" fmla="*/ 386 w 36332"/>
                  <a:gd name="connsiteY10" fmla="*/ 17655 h 36348"/>
                  <a:gd name="connsiteX11" fmla="*/ 13348 w 36332"/>
                  <a:gd name="connsiteY11" fmla="*/ 28391 h 36348"/>
                  <a:gd name="connsiteX12" fmla="*/ 13348 w 36332"/>
                  <a:gd name="connsiteY12" fmla="*/ 28391 h 36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6332" h="36348">
                    <a:moveTo>
                      <a:pt x="13348" y="28391"/>
                    </a:moveTo>
                    <a:cubicBezTo>
                      <a:pt x="15967" y="28260"/>
                      <a:pt x="9290" y="26820"/>
                      <a:pt x="9159" y="26820"/>
                    </a:cubicBezTo>
                    <a:cubicBezTo>
                      <a:pt x="8635" y="26296"/>
                      <a:pt x="8111" y="25903"/>
                      <a:pt x="7457" y="25380"/>
                    </a:cubicBezTo>
                    <a:cubicBezTo>
                      <a:pt x="8242" y="26165"/>
                      <a:pt x="8242" y="26165"/>
                      <a:pt x="7326" y="24987"/>
                    </a:cubicBezTo>
                    <a:cubicBezTo>
                      <a:pt x="6802" y="24463"/>
                      <a:pt x="6409" y="23677"/>
                      <a:pt x="6278" y="23023"/>
                    </a:cubicBezTo>
                    <a:cubicBezTo>
                      <a:pt x="5885" y="21714"/>
                      <a:pt x="5754" y="21583"/>
                      <a:pt x="5885" y="22237"/>
                    </a:cubicBezTo>
                    <a:cubicBezTo>
                      <a:pt x="6409" y="23285"/>
                      <a:pt x="5362" y="25903"/>
                      <a:pt x="5754" y="20797"/>
                    </a:cubicBezTo>
                    <a:cubicBezTo>
                      <a:pt x="5231" y="28260"/>
                      <a:pt x="11123" y="34938"/>
                      <a:pt x="18324" y="36116"/>
                    </a:cubicBezTo>
                    <a:cubicBezTo>
                      <a:pt x="25787" y="37425"/>
                      <a:pt x="32857" y="33105"/>
                      <a:pt x="35345" y="25903"/>
                    </a:cubicBezTo>
                    <a:cubicBezTo>
                      <a:pt x="40844" y="9930"/>
                      <a:pt x="22252" y="-6306"/>
                      <a:pt x="7326" y="2466"/>
                    </a:cubicBezTo>
                    <a:cubicBezTo>
                      <a:pt x="2219" y="5478"/>
                      <a:pt x="-1185" y="11632"/>
                      <a:pt x="386" y="17655"/>
                    </a:cubicBezTo>
                    <a:cubicBezTo>
                      <a:pt x="2088" y="23285"/>
                      <a:pt x="7326" y="28784"/>
                      <a:pt x="13348" y="28391"/>
                    </a:cubicBezTo>
                    <a:lnTo>
                      <a:pt x="13348" y="28391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îsļïḍè"/>
              <p:cNvSpPr/>
              <p:nvPr/>
            </p:nvSpPr>
            <p:spPr>
              <a:xfrm>
                <a:off x="4304618" y="-1311013"/>
                <a:ext cx="39424" cy="28199"/>
              </a:xfrm>
              <a:custGeom>
                <a:avLst/>
                <a:gdLst>
                  <a:gd name="connsiteX0" fmla="*/ 8131 w 39424"/>
                  <a:gd name="connsiteY0" fmla="*/ 25180 h 28199"/>
                  <a:gd name="connsiteX1" fmla="*/ 24760 w 39424"/>
                  <a:gd name="connsiteY1" fmla="*/ 28191 h 28199"/>
                  <a:gd name="connsiteX2" fmla="*/ 39424 w 39424"/>
                  <a:gd name="connsiteY2" fmla="*/ 14705 h 28199"/>
                  <a:gd name="connsiteX3" fmla="*/ 25938 w 39424"/>
                  <a:gd name="connsiteY3" fmla="*/ 41 h 28199"/>
                  <a:gd name="connsiteX4" fmla="*/ 9179 w 39424"/>
                  <a:gd name="connsiteY4" fmla="*/ 1743 h 28199"/>
                  <a:gd name="connsiteX5" fmla="*/ 8131 w 39424"/>
                  <a:gd name="connsiteY5" fmla="*/ 25180 h 28199"/>
                  <a:gd name="connsiteX6" fmla="*/ 8131 w 39424"/>
                  <a:gd name="connsiteY6" fmla="*/ 25180 h 2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9424" h="28199">
                    <a:moveTo>
                      <a:pt x="8131" y="25180"/>
                    </a:moveTo>
                    <a:cubicBezTo>
                      <a:pt x="13631" y="26489"/>
                      <a:pt x="18999" y="28060"/>
                      <a:pt x="24760" y="28191"/>
                    </a:cubicBezTo>
                    <a:cubicBezTo>
                      <a:pt x="32092" y="28453"/>
                      <a:pt x="39424" y="22299"/>
                      <a:pt x="39424" y="14705"/>
                    </a:cubicBezTo>
                    <a:cubicBezTo>
                      <a:pt x="39424" y="7111"/>
                      <a:pt x="33794" y="434"/>
                      <a:pt x="25938" y="41"/>
                    </a:cubicBezTo>
                    <a:cubicBezTo>
                      <a:pt x="20308" y="-221"/>
                      <a:pt x="14809" y="827"/>
                      <a:pt x="9179" y="1743"/>
                    </a:cubicBezTo>
                    <a:cubicBezTo>
                      <a:pt x="-2474" y="3707"/>
                      <a:pt x="-3260" y="22299"/>
                      <a:pt x="8131" y="25180"/>
                    </a:cubicBezTo>
                    <a:lnTo>
                      <a:pt x="8131" y="25180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îṧlîḓê"/>
              <p:cNvSpPr/>
              <p:nvPr/>
            </p:nvSpPr>
            <p:spPr>
              <a:xfrm>
                <a:off x="4282785" y="-1479890"/>
                <a:ext cx="28948" cy="30013"/>
              </a:xfrm>
              <a:custGeom>
                <a:avLst/>
                <a:gdLst>
                  <a:gd name="connsiteX0" fmla="*/ 13860 w 28948"/>
                  <a:gd name="connsiteY0" fmla="*/ 29999 h 30013"/>
                  <a:gd name="connsiteX1" fmla="*/ 15038 w 28948"/>
                  <a:gd name="connsiteY1" fmla="*/ 15 h 30013"/>
                  <a:gd name="connsiteX2" fmla="*/ 13860 w 28948"/>
                  <a:gd name="connsiteY2" fmla="*/ 29999 h 30013"/>
                  <a:gd name="connsiteX3" fmla="*/ 13860 w 28948"/>
                  <a:gd name="connsiteY3" fmla="*/ 29999 h 30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948" h="30013">
                    <a:moveTo>
                      <a:pt x="13860" y="29999"/>
                    </a:moveTo>
                    <a:cubicBezTo>
                      <a:pt x="33107" y="30784"/>
                      <a:pt x="34416" y="801"/>
                      <a:pt x="15038" y="15"/>
                    </a:cubicBezTo>
                    <a:cubicBezTo>
                      <a:pt x="-4209" y="-770"/>
                      <a:pt x="-5387" y="29213"/>
                      <a:pt x="13860" y="29999"/>
                    </a:cubicBezTo>
                    <a:lnTo>
                      <a:pt x="13860" y="2999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ïṧḷïḍe"/>
              <p:cNvSpPr/>
              <p:nvPr/>
            </p:nvSpPr>
            <p:spPr>
              <a:xfrm>
                <a:off x="4441929" y="-1542609"/>
                <a:ext cx="34011" cy="35255"/>
              </a:xfrm>
              <a:custGeom>
                <a:avLst/>
                <a:gdLst>
                  <a:gd name="connsiteX0" fmla="*/ 16286 w 34011"/>
                  <a:gd name="connsiteY0" fmla="*/ 35238 h 35255"/>
                  <a:gd name="connsiteX1" fmla="*/ 17726 w 34011"/>
                  <a:gd name="connsiteY1" fmla="*/ 18 h 35255"/>
                  <a:gd name="connsiteX2" fmla="*/ 16286 w 34011"/>
                  <a:gd name="connsiteY2" fmla="*/ 35238 h 35255"/>
                  <a:gd name="connsiteX3" fmla="*/ 16286 w 34011"/>
                  <a:gd name="connsiteY3" fmla="*/ 35238 h 35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011" h="35255">
                    <a:moveTo>
                      <a:pt x="16286" y="35238"/>
                    </a:moveTo>
                    <a:cubicBezTo>
                      <a:pt x="38937" y="36155"/>
                      <a:pt x="40377" y="934"/>
                      <a:pt x="17726" y="18"/>
                    </a:cubicBezTo>
                    <a:cubicBezTo>
                      <a:pt x="-4926" y="-899"/>
                      <a:pt x="-6366" y="34322"/>
                      <a:pt x="16286" y="35238"/>
                    </a:cubicBezTo>
                    <a:lnTo>
                      <a:pt x="16286" y="35238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iṣḷîḍé"/>
              <p:cNvSpPr/>
              <p:nvPr/>
            </p:nvSpPr>
            <p:spPr>
              <a:xfrm>
                <a:off x="4777630" y="-1452771"/>
                <a:ext cx="43555" cy="27030"/>
              </a:xfrm>
              <a:custGeom>
                <a:avLst/>
                <a:gdLst>
                  <a:gd name="connsiteX0" fmla="*/ 7916 w 43555"/>
                  <a:gd name="connsiteY0" fmla="*/ 23306 h 27030"/>
                  <a:gd name="connsiteX1" fmla="*/ 35673 w 43555"/>
                  <a:gd name="connsiteY1" fmla="*/ 26056 h 27030"/>
                  <a:gd name="connsiteX2" fmla="*/ 38947 w 43555"/>
                  <a:gd name="connsiteY2" fmla="*/ 7201 h 27030"/>
                  <a:gd name="connsiteX3" fmla="*/ 12106 w 43555"/>
                  <a:gd name="connsiteY3" fmla="*/ 0 h 27030"/>
                  <a:gd name="connsiteX4" fmla="*/ 7916 w 43555"/>
                  <a:gd name="connsiteY4" fmla="*/ 23306 h 27030"/>
                  <a:gd name="connsiteX5" fmla="*/ 7916 w 43555"/>
                  <a:gd name="connsiteY5" fmla="*/ 23306 h 27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3555" h="27030">
                    <a:moveTo>
                      <a:pt x="7916" y="23306"/>
                    </a:moveTo>
                    <a:cubicBezTo>
                      <a:pt x="17212" y="26972"/>
                      <a:pt x="25853" y="28020"/>
                      <a:pt x="35673" y="26056"/>
                    </a:cubicBezTo>
                    <a:cubicBezTo>
                      <a:pt x="44446" y="24353"/>
                      <a:pt x="46410" y="11784"/>
                      <a:pt x="38947" y="7201"/>
                    </a:cubicBezTo>
                    <a:cubicBezTo>
                      <a:pt x="30436" y="1964"/>
                      <a:pt x="21925" y="0"/>
                      <a:pt x="12106" y="0"/>
                    </a:cubicBezTo>
                    <a:cubicBezTo>
                      <a:pt x="-1511" y="131"/>
                      <a:pt x="-4654" y="18461"/>
                      <a:pt x="7916" y="23306"/>
                    </a:cubicBezTo>
                    <a:lnTo>
                      <a:pt x="7916" y="23306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" name="iSľiḍe"/>
              <p:cNvSpPr/>
              <p:nvPr/>
            </p:nvSpPr>
            <p:spPr>
              <a:xfrm>
                <a:off x="4861068" y="-1234912"/>
                <a:ext cx="34590" cy="31437"/>
              </a:xfrm>
              <a:custGeom>
                <a:avLst/>
                <a:gdLst>
                  <a:gd name="connsiteX0" fmla="*/ 3037 w 34590"/>
                  <a:gd name="connsiteY0" fmla="*/ 19783 h 31437"/>
                  <a:gd name="connsiteX1" fmla="*/ 22022 w 34590"/>
                  <a:gd name="connsiteY1" fmla="*/ 31436 h 31437"/>
                  <a:gd name="connsiteX2" fmla="*/ 34068 w 34590"/>
                  <a:gd name="connsiteY2" fmla="*/ 16902 h 31437"/>
                  <a:gd name="connsiteX3" fmla="*/ 25557 w 34590"/>
                  <a:gd name="connsiteY3" fmla="*/ 4988 h 31437"/>
                  <a:gd name="connsiteX4" fmla="*/ 15344 w 34590"/>
                  <a:gd name="connsiteY4" fmla="*/ 536 h 31437"/>
                  <a:gd name="connsiteX5" fmla="*/ 1727 w 34590"/>
                  <a:gd name="connsiteY5" fmla="*/ 5380 h 31437"/>
                  <a:gd name="connsiteX6" fmla="*/ 3037 w 34590"/>
                  <a:gd name="connsiteY6" fmla="*/ 19783 h 31437"/>
                  <a:gd name="connsiteX7" fmla="*/ 3037 w 34590"/>
                  <a:gd name="connsiteY7" fmla="*/ 19783 h 31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590" h="31437">
                    <a:moveTo>
                      <a:pt x="3037" y="19783"/>
                    </a:moveTo>
                    <a:cubicBezTo>
                      <a:pt x="7881" y="26329"/>
                      <a:pt x="13511" y="31305"/>
                      <a:pt x="22022" y="31436"/>
                    </a:cubicBezTo>
                    <a:cubicBezTo>
                      <a:pt x="28961" y="31567"/>
                      <a:pt x="36686" y="24496"/>
                      <a:pt x="34068" y="16902"/>
                    </a:cubicBezTo>
                    <a:cubicBezTo>
                      <a:pt x="32235" y="11665"/>
                      <a:pt x="30140" y="8130"/>
                      <a:pt x="25557" y="4988"/>
                    </a:cubicBezTo>
                    <a:cubicBezTo>
                      <a:pt x="22415" y="2893"/>
                      <a:pt x="18880" y="1714"/>
                      <a:pt x="15344" y="536"/>
                    </a:cubicBezTo>
                    <a:cubicBezTo>
                      <a:pt x="10500" y="-1035"/>
                      <a:pt x="4346" y="929"/>
                      <a:pt x="1727" y="5380"/>
                    </a:cubicBezTo>
                    <a:cubicBezTo>
                      <a:pt x="-1153" y="10225"/>
                      <a:pt x="-237" y="15331"/>
                      <a:pt x="3037" y="19783"/>
                    </a:cubicBezTo>
                    <a:lnTo>
                      <a:pt x="3037" y="1978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ïṡľîdè"/>
              <p:cNvSpPr/>
              <p:nvPr/>
            </p:nvSpPr>
            <p:spPr>
              <a:xfrm>
                <a:off x="4779625" y="-1132338"/>
                <a:ext cx="38842" cy="33176"/>
              </a:xfrm>
              <a:custGeom>
                <a:avLst/>
                <a:gdLst>
                  <a:gd name="connsiteX0" fmla="*/ 7753 w 38842"/>
                  <a:gd name="connsiteY0" fmla="*/ 24573 h 33176"/>
                  <a:gd name="connsiteX1" fmla="*/ 9586 w 38842"/>
                  <a:gd name="connsiteY1" fmla="*/ 25097 h 33176"/>
                  <a:gd name="connsiteX2" fmla="*/ 11681 w 38842"/>
                  <a:gd name="connsiteY2" fmla="*/ 25490 h 33176"/>
                  <a:gd name="connsiteX3" fmla="*/ 12467 w 38842"/>
                  <a:gd name="connsiteY3" fmla="*/ 25621 h 33176"/>
                  <a:gd name="connsiteX4" fmla="*/ 13253 w 38842"/>
                  <a:gd name="connsiteY4" fmla="*/ 26014 h 33176"/>
                  <a:gd name="connsiteX5" fmla="*/ 11681 w 38842"/>
                  <a:gd name="connsiteY5" fmla="*/ 25359 h 33176"/>
                  <a:gd name="connsiteX6" fmla="*/ 11681 w 38842"/>
                  <a:gd name="connsiteY6" fmla="*/ 25228 h 33176"/>
                  <a:gd name="connsiteX7" fmla="*/ 11812 w 38842"/>
                  <a:gd name="connsiteY7" fmla="*/ 25621 h 33176"/>
                  <a:gd name="connsiteX8" fmla="*/ 15479 w 38842"/>
                  <a:gd name="connsiteY8" fmla="*/ 29025 h 33176"/>
                  <a:gd name="connsiteX9" fmla="*/ 14562 w 38842"/>
                  <a:gd name="connsiteY9" fmla="*/ 28370 h 33176"/>
                  <a:gd name="connsiteX10" fmla="*/ 21109 w 38842"/>
                  <a:gd name="connsiteY10" fmla="*/ 32429 h 33176"/>
                  <a:gd name="connsiteX11" fmla="*/ 32893 w 38842"/>
                  <a:gd name="connsiteY11" fmla="*/ 30465 h 33176"/>
                  <a:gd name="connsiteX12" fmla="*/ 38653 w 38842"/>
                  <a:gd name="connsiteY12" fmla="*/ 20122 h 33176"/>
                  <a:gd name="connsiteX13" fmla="*/ 23989 w 38842"/>
                  <a:gd name="connsiteY13" fmla="*/ 1136 h 33176"/>
                  <a:gd name="connsiteX14" fmla="*/ 3564 w 38842"/>
                  <a:gd name="connsiteY14" fmla="*/ 5064 h 33176"/>
                  <a:gd name="connsiteX15" fmla="*/ 7753 w 38842"/>
                  <a:gd name="connsiteY15" fmla="*/ 24573 h 33176"/>
                  <a:gd name="connsiteX16" fmla="*/ 7753 w 38842"/>
                  <a:gd name="connsiteY16" fmla="*/ 24573 h 33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8842" h="33176">
                    <a:moveTo>
                      <a:pt x="7753" y="24573"/>
                    </a:moveTo>
                    <a:cubicBezTo>
                      <a:pt x="8408" y="24704"/>
                      <a:pt x="8932" y="24966"/>
                      <a:pt x="9586" y="25097"/>
                    </a:cubicBezTo>
                    <a:cubicBezTo>
                      <a:pt x="10241" y="25359"/>
                      <a:pt x="10896" y="25490"/>
                      <a:pt x="11681" y="25490"/>
                    </a:cubicBezTo>
                    <a:cubicBezTo>
                      <a:pt x="13645" y="25883"/>
                      <a:pt x="13907" y="25883"/>
                      <a:pt x="12467" y="25621"/>
                    </a:cubicBezTo>
                    <a:cubicBezTo>
                      <a:pt x="10241" y="24311"/>
                      <a:pt x="12991" y="26406"/>
                      <a:pt x="13253" y="26014"/>
                    </a:cubicBezTo>
                    <a:cubicBezTo>
                      <a:pt x="12729" y="25752"/>
                      <a:pt x="12205" y="25490"/>
                      <a:pt x="11681" y="25359"/>
                    </a:cubicBezTo>
                    <a:cubicBezTo>
                      <a:pt x="12598" y="26014"/>
                      <a:pt x="12598" y="26014"/>
                      <a:pt x="11681" y="25228"/>
                    </a:cubicBezTo>
                    <a:cubicBezTo>
                      <a:pt x="11027" y="23919"/>
                      <a:pt x="11289" y="24966"/>
                      <a:pt x="11812" y="25621"/>
                    </a:cubicBezTo>
                    <a:cubicBezTo>
                      <a:pt x="12860" y="26930"/>
                      <a:pt x="14038" y="27978"/>
                      <a:pt x="15479" y="29025"/>
                    </a:cubicBezTo>
                    <a:cubicBezTo>
                      <a:pt x="14955" y="28632"/>
                      <a:pt x="13253" y="27061"/>
                      <a:pt x="14562" y="28370"/>
                    </a:cubicBezTo>
                    <a:cubicBezTo>
                      <a:pt x="16526" y="30465"/>
                      <a:pt x="18621" y="31251"/>
                      <a:pt x="21109" y="32429"/>
                    </a:cubicBezTo>
                    <a:cubicBezTo>
                      <a:pt x="24906" y="34131"/>
                      <a:pt x="29750" y="32691"/>
                      <a:pt x="32893" y="30465"/>
                    </a:cubicBezTo>
                    <a:cubicBezTo>
                      <a:pt x="36559" y="27847"/>
                      <a:pt x="37868" y="24573"/>
                      <a:pt x="38653" y="20122"/>
                    </a:cubicBezTo>
                    <a:cubicBezTo>
                      <a:pt x="40225" y="11218"/>
                      <a:pt x="31714" y="3493"/>
                      <a:pt x="23989" y="1136"/>
                    </a:cubicBezTo>
                    <a:cubicBezTo>
                      <a:pt x="17050" y="-959"/>
                      <a:pt x="8801" y="-435"/>
                      <a:pt x="3564" y="5064"/>
                    </a:cubicBezTo>
                    <a:cubicBezTo>
                      <a:pt x="-2066" y="10825"/>
                      <a:pt x="-1281" y="22348"/>
                      <a:pt x="7753" y="24573"/>
                    </a:cubicBezTo>
                    <a:lnTo>
                      <a:pt x="7753" y="2457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íṥļîḓe"/>
              <p:cNvSpPr/>
              <p:nvPr/>
            </p:nvSpPr>
            <p:spPr>
              <a:xfrm>
                <a:off x="4581678" y="-1174519"/>
                <a:ext cx="30654" cy="28619"/>
              </a:xfrm>
              <a:custGeom>
                <a:avLst/>
                <a:gdLst>
                  <a:gd name="connsiteX0" fmla="*/ 17681 w 30654"/>
                  <a:gd name="connsiteY0" fmla="*/ 28260 h 28619"/>
                  <a:gd name="connsiteX1" fmla="*/ 26716 w 30654"/>
                  <a:gd name="connsiteY1" fmla="*/ 23808 h 28619"/>
                  <a:gd name="connsiteX2" fmla="*/ 27501 w 30654"/>
                  <a:gd name="connsiteY2" fmla="*/ 5739 h 28619"/>
                  <a:gd name="connsiteX3" fmla="*/ 18729 w 30654"/>
                  <a:gd name="connsiteY3" fmla="*/ 633 h 28619"/>
                  <a:gd name="connsiteX4" fmla="*/ 6 w 30654"/>
                  <a:gd name="connsiteY4" fmla="*/ 13726 h 28619"/>
                  <a:gd name="connsiteX5" fmla="*/ 17681 w 30654"/>
                  <a:gd name="connsiteY5" fmla="*/ 28260 h 28619"/>
                  <a:gd name="connsiteX6" fmla="*/ 17681 w 30654"/>
                  <a:gd name="connsiteY6" fmla="*/ 28260 h 28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654" h="28619">
                    <a:moveTo>
                      <a:pt x="17681" y="28260"/>
                    </a:moveTo>
                    <a:cubicBezTo>
                      <a:pt x="21086" y="27474"/>
                      <a:pt x="24359" y="26427"/>
                      <a:pt x="26716" y="23808"/>
                    </a:cubicBezTo>
                    <a:cubicBezTo>
                      <a:pt x="31691" y="18440"/>
                      <a:pt x="31953" y="11500"/>
                      <a:pt x="27501" y="5739"/>
                    </a:cubicBezTo>
                    <a:cubicBezTo>
                      <a:pt x="25276" y="2859"/>
                      <a:pt x="22133" y="1680"/>
                      <a:pt x="18729" y="633"/>
                    </a:cubicBezTo>
                    <a:cubicBezTo>
                      <a:pt x="9826" y="-2117"/>
                      <a:pt x="398" y="4430"/>
                      <a:pt x="6" y="13726"/>
                    </a:cubicBezTo>
                    <a:cubicBezTo>
                      <a:pt x="-256" y="23022"/>
                      <a:pt x="8647" y="30355"/>
                      <a:pt x="17681" y="28260"/>
                    </a:cubicBezTo>
                    <a:lnTo>
                      <a:pt x="17681" y="28260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2" name="îśļíḍe"/>
              <p:cNvSpPr/>
              <p:nvPr/>
            </p:nvSpPr>
            <p:spPr>
              <a:xfrm>
                <a:off x="5030138" y="-1092892"/>
                <a:ext cx="47889" cy="34648"/>
              </a:xfrm>
              <a:custGeom>
                <a:avLst/>
                <a:gdLst>
                  <a:gd name="connsiteX0" fmla="*/ 3394 w 47889"/>
                  <a:gd name="connsiteY0" fmla="*/ 22182 h 34648"/>
                  <a:gd name="connsiteX1" fmla="*/ 20284 w 47889"/>
                  <a:gd name="connsiteY1" fmla="*/ 31871 h 34648"/>
                  <a:gd name="connsiteX2" fmla="*/ 41102 w 47889"/>
                  <a:gd name="connsiteY2" fmla="*/ 32394 h 34648"/>
                  <a:gd name="connsiteX3" fmla="*/ 46602 w 47889"/>
                  <a:gd name="connsiteY3" fmla="*/ 14587 h 34648"/>
                  <a:gd name="connsiteX4" fmla="*/ 30497 w 47889"/>
                  <a:gd name="connsiteY4" fmla="*/ 2934 h 34648"/>
                  <a:gd name="connsiteX5" fmla="*/ 13606 w 47889"/>
                  <a:gd name="connsiteY5" fmla="*/ 54 h 34648"/>
                  <a:gd name="connsiteX6" fmla="*/ 1299 w 47889"/>
                  <a:gd name="connsiteY6" fmla="*/ 7648 h 34648"/>
                  <a:gd name="connsiteX7" fmla="*/ 3394 w 47889"/>
                  <a:gd name="connsiteY7" fmla="*/ 22182 h 34648"/>
                  <a:gd name="connsiteX8" fmla="*/ 3394 w 47889"/>
                  <a:gd name="connsiteY8" fmla="*/ 22182 h 34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889" h="34648">
                    <a:moveTo>
                      <a:pt x="3394" y="22182"/>
                    </a:moveTo>
                    <a:cubicBezTo>
                      <a:pt x="8107" y="26502"/>
                      <a:pt x="14261" y="29514"/>
                      <a:pt x="20284" y="31871"/>
                    </a:cubicBezTo>
                    <a:cubicBezTo>
                      <a:pt x="27223" y="34620"/>
                      <a:pt x="34294" y="36191"/>
                      <a:pt x="41102" y="32394"/>
                    </a:cubicBezTo>
                    <a:cubicBezTo>
                      <a:pt x="47780" y="28728"/>
                      <a:pt x="49351" y="21265"/>
                      <a:pt x="46602" y="14587"/>
                    </a:cubicBezTo>
                    <a:cubicBezTo>
                      <a:pt x="43721" y="7910"/>
                      <a:pt x="37043" y="4898"/>
                      <a:pt x="30497" y="2934"/>
                    </a:cubicBezTo>
                    <a:cubicBezTo>
                      <a:pt x="25390" y="1494"/>
                      <a:pt x="18844" y="-339"/>
                      <a:pt x="13606" y="54"/>
                    </a:cubicBezTo>
                    <a:cubicBezTo>
                      <a:pt x="8238" y="447"/>
                      <a:pt x="3525" y="2542"/>
                      <a:pt x="1299" y="7648"/>
                    </a:cubicBezTo>
                    <a:cubicBezTo>
                      <a:pt x="-796" y="12231"/>
                      <a:pt x="-534" y="18646"/>
                      <a:pt x="3394" y="22182"/>
                    </a:cubicBezTo>
                    <a:lnTo>
                      <a:pt x="3394" y="22182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ïş1îdé"/>
              <p:cNvSpPr/>
              <p:nvPr/>
            </p:nvSpPr>
            <p:spPr>
              <a:xfrm>
                <a:off x="4895877" y="-1306871"/>
                <a:ext cx="30044" cy="29460"/>
              </a:xfrm>
              <a:custGeom>
                <a:avLst/>
                <a:gdLst>
                  <a:gd name="connsiteX0" fmla="*/ 1877 w 30044"/>
                  <a:gd name="connsiteY0" fmla="*/ 20646 h 29460"/>
                  <a:gd name="connsiteX1" fmla="*/ 2270 w 30044"/>
                  <a:gd name="connsiteY1" fmla="*/ 21693 h 29460"/>
                  <a:gd name="connsiteX2" fmla="*/ 30028 w 30044"/>
                  <a:gd name="connsiteY2" fmla="*/ 15408 h 29460"/>
                  <a:gd name="connsiteX3" fmla="*/ 2925 w 30044"/>
                  <a:gd name="connsiteY3" fmla="*/ 6898 h 29460"/>
                  <a:gd name="connsiteX4" fmla="*/ 2139 w 30044"/>
                  <a:gd name="connsiteY4" fmla="*/ 7814 h 29460"/>
                  <a:gd name="connsiteX5" fmla="*/ 1616 w 30044"/>
                  <a:gd name="connsiteY5" fmla="*/ 20777 h 29460"/>
                  <a:gd name="connsiteX6" fmla="*/ 2270 w 30044"/>
                  <a:gd name="connsiteY6" fmla="*/ 21693 h 29460"/>
                  <a:gd name="connsiteX7" fmla="*/ 30028 w 30044"/>
                  <a:gd name="connsiteY7" fmla="*/ 15408 h 29460"/>
                  <a:gd name="connsiteX8" fmla="*/ 2925 w 30044"/>
                  <a:gd name="connsiteY8" fmla="*/ 6898 h 29460"/>
                  <a:gd name="connsiteX9" fmla="*/ 1877 w 30044"/>
                  <a:gd name="connsiteY9" fmla="*/ 20646 h 29460"/>
                  <a:gd name="connsiteX10" fmla="*/ 1877 w 30044"/>
                  <a:gd name="connsiteY10" fmla="*/ 20646 h 29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044" h="29460">
                    <a:moveTo>
                      <a:pt x="1877" y="20646"/>
                    </a:moveTo>
                    <a:cubicBezTo>
                      <a:pt x="2008" y="21039"/>
                      <a:pt x="2139" y="21300"/>
                      <a:pt x="2270" y="21693"/>
                    </a:cubicBezTo>
                    <a:cubicBezTo>
                      <a:pt x="7900" y="35703"/>
                      <a:pt x="29373" y="29025"/>
                      <a:pt x="30028" y="15408"/>
                    </a:cubicBezTo>
                    <a:cubicBezTo>
                      <a:pt x="30683" y="-434"/>
                      <a:pt x="11697" y="-3708"/>
                      <a:pt x="2925" y="6898"/>
                    </a:cubicBezTo>
                    <a:cubicBezTo>
                      <a:pt x="2663" y="7160"/>
                      <a:pt x="2401" y="7552"/>
                      <a:pt x="2139" y="7814"/>
                    </a:cubicBezTo>
                    <a:cubicBezTo>
                      <a:pt x="-479" y="10957"/>
                      <a:pt x="-741" y="17503"/>
                      <a:pt x="1616" y="20777"/>
                    </a:cubicBezTo>
                    <a:cubicBezTo>
                      <a:pt x="1877" y="21039"/>
                      <a:pt x="2008" y="21431"/>
                      <a:pt x="2270" y="21693"/>
                    </a:cubicBezTo>
                    <a:cubicBezTo>
                      <a:pt x="10126" y="32953"/>
                      <a:pt x="29373" y="31120"/>
                      <a:pt x="30028" y="15408"/>
                    </a:cubicBezTo>
                    <a:cubicBezTo>
                      <a:pt x="30552" y="1791"/>
                      <a:pt x="9733" y="-6719"/>
                      <a:pt x="2925" y="6898"/>
                    </a:cubicBezTo>
                    <a:cubicBezTo>
                      <a:pt x="437" y="11873"/>
                      <a:pt x="-217" y="15408"/>
                      <a:pt x="1877" y="20646"/>
                    </a:cubicBezTo>
                    <a:lnTo>
                      <a:pt x="1877" y="20646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išḷïďè"/>
              <p:cNvSpPr/>
              <p:nvPr/>
            </p:nvSpPr>
            <p:spPr>
              <a:xfrm>
                <a:off x="4025047" y="-1493116"/>
                <a:ext cx="44916" cy="35507"/>
              </a:xfrm>
              <a:custGeom>
                <a:avLst/>
                <a:gdLst>
                  <a:gd name="connsiteX0" fmla="*/ 41418 w 44916"/>
                  <a:gd name="connsiteY0" fmla="*/ 13241 h 35507"/>
                  <a:gd name="connsiteX1" fmla="*/ 11435 w 44916"/>
                  <a:gd name="connsiteY1" fmla="*/ 410 h 35507"/>
                  <a:gd name="connsiteX2" fmla="*/ 1746 w 44916"/>
                  <a:gd name="connsiteY2" fmla="*/ 21621 h 35507"/>
                  <a:gd name="connsiteX3" fmla="*/ 31074 w 44916"/>
                  <a:gd name="connsiteY3" fmla="*/ 35500 h 35507"/>
                  <a:gd name="connsiteX4" fmla="*/ 41418 w 44916"/>
                  <a:gd name="connsiteY4" fmla="*/ 13241 h 35507"/>
                  <a:gd name="connsiteX5" fmla="*/ 41418 w 44916"/>
                  <a:gd name="connsiteY5" fmla="*/ 13241 h 35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4916" h="35507">
                    <a:moveTo>
                      <a:pt x="41418" y="13241"/>
                    </a:moveTo>
                    <a:cubicBezTo>
                      <a:pt x="33955" y="5385"/>
                      <a:pt x="22695" y="-1816"/>
                      <a:pt x="11435" y="410"/>
                    </a:cubicBezTo>
                    <a:cubicBezTo>
                      <a:pt x="2400" y="2112"/>
                      <a:pt x="-2968" y="13634"/>
                      <a:pt x="1746" y="21621"/>
                    </a:cubicBezTo>
                    <a:cubicBezTo>
                      <a:pt x="7638" y="31441"/>
                      <a:pt x="20207" y="35238"/>
                      <a:pt x="31074" y="35500"/>
                    </a:cubicBezTo>
                    <a:cubicBezTo>
                      <a:pt x="42466" y="35893"/>
                      <a:pt x="49536" y="21752"/>
                      <a:pt x="41418" y="13241"/>
                    </a:cubicBezTo>
                    <a:lnTo>
                      <a:pt x="41418" y="13241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ïṡliḓè"/>
              <p:cNvSpPr/>
              <p:nvPr/>
            </p:nvSpPr>
            <p:spPr>
              <a:xfrm>
                <a:off x="4159550" y="-1372037"/>
                <a:ext cx="45448" cy="26816"/>
              </a:xfrm>
              <a:custGeom>
                <a:avLst/>
                <a:gdLst>
                  <a:gd name="connsiteX0" fmla="*/ 39681 w 45448"/>
                  <a:gd name="connsiteY0" fmla="*/ 6073 h 26816"/>
                  <a:gd name="connsiteX1" fmla="*/ 13756 w 45448"/>
                  <a:gd name="connsiteY1" fmla="*/ 50 h 26816"/>
                  <a:gd name="connsiteX2" fmla="*/ 8 w 45448"/>
                  <a:gd name="connsiteY2" fmla="*/ 12751 h 26816"/>
                  <a:gd name="connsiteX3" fmla="*/ 12709 w 45448"/>
                  <a:gd name="connsiteY3" fmla="*/ 26499 h 26816"/>
                  <a:gd name="connsiteX4" fmla="*/ 39026 w 45448"/>
                  <a:gd name="connsiteY4" fmla="*/ 22571 h 26816"/>
                  <a:gd name="connsiteX5" fmla="*/ 39681 w 45448"/>
                  <a:gd name="connsiteY5" fmla="*/ 6073 h 26816"/>
                  <a:gd name="connsiteX6" fmla="*/ 39681 w 45448"/>
                  <a:gd name="connsiteY6" fmla="*/ 6073 h 26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448" h="26816">
                    <a:moveTo>
                      <a:pt x="39681" y="6073"/>
                    </a:moveTo>
                    <a:cubicBezTo>
                      <a:pt x="31563" y="3193"/>
                      <a:pt x="22398" y="-473"/>
                      <a:pt x="13756" y="50"/>
                    </a:cubicBezTo>
                    <a:cubicBezTo>
                      <a:pt x="6686" y="574"/>
                      <a:pt x="401" y="5026"/>
                      <a:pt x="8" y="12751"/>
                    </a:cubicBezTo>
                    <a:cubicBezTo>
                      <a:pt x="-253" y="20476"/>
                      <a:pt x="5639" y="25451"/>
                      <a:pt x="12709" y="26499"/>
                    </a:cubicBezTo>
                    <a:cubicBezTo>
                      <a:pt x="21350" y="27808"/>
                      <a:pt x="30777" y="24797"/>
                      <a:pt x="39026" y="22571"/>
                    </a:cubicBezTo>
                    <a:cubicBezTo>
                      <a:pt x="47275" y="20476"/>
                      <a:pt x="47668" y="8954"/>
                      <a:pt x="39681" y="6073"/>
                    </a:cubicBezTo>
                    <a:lnTo>
                      <a:pt x="39681" y="607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ísḷíḍê"/>
              <p:cNvSpPr/>
              <p:nvPr/>
            </p:nvSpPr>
            <p:spPr>
              <a:xfrm>
                <a:off x="4186259" y="-1603795"/>
                <a:ext cx="29213" cy="35870"/>
              </a:xfrm>
              <a:custGeom>
                <a:avLst/>
                <a:gdLst>
                  <a:gd name="connsiteX0" fmla="*/ 28684 w 29213"/>
                  <a:gd name="connsiteY0" fmla="*/ 30959 h 35870"/>
                  <a:gd name="connsiteX1" fmla="*/ 26851 w 29213"/>
                  <a:gd name="connsiteY1" fmla="*/ 10664 h 35870"/>
                  <a:gd name="connsiteX2" fmla="*/ 10484 w 29213"/>
                  <a:gd name="connsiteY2" fmla="*/ 452 h 35870"/>
                  <a:gd name="connsiteX3" fmla="*/ 4331 w 29213"/>
                  <a:gd name="connsiteY3" fmla="*/ 3725 h 35870"/>
                  <a:gd name="connsiteX4" fmla="*/ 3545 w 29213"/>
                  <a:gd name="connsiteY4" fmla="*/ 22972 h 35870"/>
                  <a:gd name="connsiteX5" fmla="*/ 19781 w 29213"/>
                  <a:gd name="connsiteY5" fmla="*/ 35541 h 35870"/>
                  <a:gd name="connsiteX6" fmla="*/ 28684 w 29213"/>
                  <a:gd name="connsiteY6" fmla="*/ 30959 h 35870"/>
                  <a:gd name="connsiteX7" fmla="*/ 28684 w 29213"/>
                  <a:gd name="connsiteY7" fmla="*/ 30959 h 35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9213" h="35870">
                    <a:moveTo>
                      <a:pt x="28684" y="30959"/>
                    </a:moveTo>
                    <a:cubicBezTo>
                      <a:pt x="29993" y="24281"/>
                      <a:pt x="28684" y="17211"/>
                      <a:pt x="26851" y="10664"/>
                    </a:cubicBezTo>
                    <a:cubicBezTo>
                      <a:pt x="24887" y="3856"/>
                      <a:pt x="17817" y="-1643"/>
                      <a:pt x="10484" y="452"/>
                    </a:cubicBezTo>
                    <a:cubicBezTo>
                      <a:pt x="7997" y="1106"/>
                      <a:pt x="6295" y="2023"/>
                      <a:pt x="4331" y="3725"/>
                    </a:cubicBezTo>
                    <a:cubicBezTo>
                      <a:pt x="-1169" y="8700"/>
                      <a:pt x="-1430" y="17604"/>
                      <a:pt x="3545" y="22972"/>
                    </a:cubicBezTo>
                    <a:cubicBezTo>
                      <a:pt x="8128" y="27947"/>
                      <a:pt x="13365" y="33185"/>
                      <a:pt x="19781" y="35541"/>
                    </a:cubicBezTo>
                    <a:cubicBezTo>
                      <a:pt x="23054" y="36720"/>
                      <a:pt x="27898" y="34625"/>
                      <a:pt x="28684" y="30959"/>
                    </a:cubicBezTo>
                    <a:lnTo>
                      <a:pt x="28684" y="3095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îṣḻîde"/>
              <p:cNvSpPr/>
              <p:nvPr/>
            </p:nvSpPr>
            <p:spPr>
              <a:xfrm>
                <a:off x="4343279" y="-1617663"/>
                <a:ext cx="32868" cy="34050"/>
              </a:xfrm>
              <a:custGeom>
                <a:avLst/>
                <a:gdLst>
                  <a:gd name="connsiteX0" fmla="*/ 32579 w 32868"/>
                  <a:gd name="connsiteY0" fmla="*/ 24663 h 34050"/>
                  <a:gd name="connsiteX1" fmla="*/ 31270 w 32868"/>
                  <a:gd name="connsiteY1" fmla="*/ 17331 h 34050"/>
                  <a:gd name="connsiteX2" fmla="*/ 27865 w 32868"/>
                  <a:gd name="connsiteY2" fmla="*/ 7773 h 34050"/>
                  <a:gd name="connsiteX3" fmla="*/ 4690 w 32868"/>
                  <a:gd name="connsiteY3" fmla="*/ 3845 h 34050"/>
                  <a:gd name="connsiteX4" fmla="*/ 6785 w 32868"/>
                  <a:gd name="connsiteY4" fmla="*/ 27282 h 34050"/>
                  <a:gd name="connsiteX5" fmla="*/ 15951 w 32868"/>
                  <a:gd name="connsiteY5" fmla="*/ 31603 h 34050"/>
                  <a:gd name="connsiteX6" fmla="*/ 23021 w 32868"/>
                  <a:gd name="connsiteY6" fmla="*/ 33567 h 34050"/>
                  <a:gd name="connsiteX7" fmla="*/ 32579 w 32868"/>
                  <a:gd name="connsiteY7" fmla="*/ 24663 h 34050"/>
                  <a:gd name="connsiteX8" fmla="*/ 32579 w 32868"/>
                  <a:gd name="connsiteY8" fmla="*/ 24663 h 34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868" h="34050">
                    <a:moveTo>
                      <a:pt x="32579" y="24663"/>
                    </a:moveTo>
                    <a:cubicBezTo>
                      <a:pt x="31793" y="22176"/>
                      <a:pt x="31793" y="19819"/>
                      <a:pt x="31270" y="17331"/>
                    </a:cubicBezTo>
                    <a:cubicBezTo>
                      <a:pt x="30615" y="14189"/>
                      <a:pt x="29175" y="10654"/>
                      <a:pt x="27865" y="7773"/>
                    </a:cubicBezTo>
                    <a:cubicBezTo>
                      <a:pt x="23938" y="-1130"/>
                      <a:pt x="11368" y="-2309"/>
                      <a:pt x="4690" y="3845"/>
                    </a:cubicBezTo>
                    <a:cubicBezTo>
                      <a:pt x="-2118" y="10130"/>
                      <a:pt x="-1594" y="22437"/>
                      <a:pt x="6785" y="27282"/>
                    </a:cubicBezTo>
                    <a:cubicBezTo>
                      <a:pt x="9535" y="28853"/>
                      <a:pt x="12939" y="30555"/>
                      <a:pt x="15951" y="31603"/>
                    </a:cubicBezTo>
                    <a:cubicBezTo>
                      <a:pt x="18307" y="32388"/>
                      <a:pt x="20664" y="32650"/>
                      <a:pt x="23021" y="33567"/>
                    </a:cubicBezTo>
                    <a:cubicBezTo>
                      <a:pt x="28127" y="35793"/>
                      <a:pt x="34281" y="29901"/>
                      <a:pt x="32579" y="24663"/>
                    </a:cubicBezTo>
                    <a:lnTo>
                      <a:pt x="32579" y="2466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iṣļíḋé"/>
              <p:cNvSpPr/>
              <p:nvPr/>
            </p:nvSpPr>
            <p:spPr>
              <a:xfrm>
                <a:off x="4563867" y="-1582346"/>
                <a:ext cx="40648" cy="35704"/>
              </a:xfrm>
              <a:custGeom>
                <a:avLst/>
                <a:gdLst>
                  <a:gd name="connsiteX0" fmla="*/ 39682 w 40648"/>
                  <a:gd name="connsiteY0" fmla="*/ 25745 h 35704"/>
                  <a:gd name="connsiteX1" fmla="*/ 32088 w 40648"/>
                  <a:gd name="connsiteY1" fmla="*/ 11736 h 35704"/>
                  <a:gd name="connsiteX2" fmla="*/ 9699 w 40648"/>
                  <a:gd name="connsiteY2" fmla="*/ 476 h 35704"/>
                  <a:gd name="connsiteX3" fmla="*/ 10 w 40648"/>
                  <a:gd name="connsiteY3" fmla="*/ 12129 h 35704"/>
                  <a:gd name="connsiteX4" fmla="*/ 4069 w 40648"/>
                  <a:gd name="connsiteY4" fmla="*/ 24829 h 35704"/>
                  <a:gd name="connsiteX5" fmla="*/ 16638 w 40648"/>
                  <a:gd name="connsiteY5" fmla="*/ 31637 h 35704"/>
                  <a:gd name="connsiteX6" fmla="*/ 31565 w 40648"/>
                  <a:gd name="connsiteY6" fmla="*/ 35304 h 35704"/>
                  <a:gd name="connsiteX7" fmla="*/ 39682 w 40648"/>
                  <a:gd name="connsiteY7" fmla="*/ 25745 h 35704"/>
                  <a:gd name="connsiteX8" fmla="*/ 39682 w 40648"/>
                  <a:gd name="connsiteY8" fmla="*/ 25745 h 35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648" h="35704">
                    <a:moveTo>
                      <a:pt x="39682" y="25745"/>
                    </a:moveTo>
                    <a:cubicBezTo>
                      <a:pt x="36409" y="20901"/>
                      <a:pt x="34052" y="16057"/>
                      <a:pt x="32088" y="11736"/>
                    </a:cubicBezTo>
                    <a:cubicBezTo>
                      <a:pt x="27899" y="2701"/>
                      <a:pt x="19257" y="-1488"/>
                      <a:pt x="9699" y="476"/>
                    </a:cubicBezTo>
                    <a:cubicBezTo>
                      <a:pt x="4723" y="1523"/>
                      <a:pt x="-252" y="6891"/>
                      <a:pt x="10" y="12129"/>
                    </a:cubicBezTo>
                    <a:cubicBezTo>
                      <a:pt x="272" y="16973"/>
                      <a:pt x="926" y="21032"/>
                      <a:pt x="4069" y="24829"/>
                    </a:cubicBezTo>
                    <a:cubicBezTo>
                      <a:pt x="7211" y="28626"/>
                      <a:pt x="11794" y="30852"/>
                      <a:pt x="16638" y="31637"/>
                    </a:cubicBezTo>
                    <a:cubicBezTo>
                      <a:pt x="20959" y="32423"/>
                      <a:pt x="26196" y="33471"/>
                      <a:pt x="31565" y="35304"/>
                    </a:cubicBezTo>
                    <a:cubicBezTo>
                      <a:pt x="36802" y="37398"/>
                      <a:pt x="43087" y="30852"/>
                      <a:pt x="39682" y="25745"/>
                    </a:cubicBezTo>
                    <a:lnTo>
                      <a:pt x="39682" y="25745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i$lïḑe"/>
              <p:cNvSpPr/>
              <p:nvPr/>
            </p:nvSpPr>
            <p:spPr>
              <a:xfrm>
                <a:off x="4471213" y="-1646163"/>
                <a:ext cx="31510" cy="33097"/>
              </a:xfrm>
              <a:custGeom>
                <a:avLst/>
                <a:gdLst>
                  <a:gd name="connsiteX0" fmla="*/ 30864 w 31510"/>
                  <a:gd name="connsiteY0" fmla="*/ 14407 h 33097"/>
                  <a:gd name="connsiteX1" fmla="*/ 25365 w 31510"/>
                  <a:gd name="connsiteY1" fmla="*/ 4718 h 33097"/>
                  <a:gd name="connsiteX2" fmla="*/ 7689 w 31510"/>
                  <a:gd name="connsiteY2" fmla="*/ 1706 h 33097"/>
                  <a:gd name="connsiteX3" fmla="*/ 226 w 31510"/>
                  <a:gd name="connsiteY3" fmla="*/ 18073 h 33097"/>
                  <a:gd name="connsiteX4" fmla="*/ 2582 w 31510"/>
                  <a:gd name="connsiteY4" fmla="*/ 25143 h 33097"/>
                  <a:gd name="connsiteX5" fmla="*/ 21306 w 31510"/>
                  <a:gd name="connsiteY5" fmla="*/ 32083 h 33097"/>
                  <a:gd name="connsiteX6" fmla="*/ 30864 w 31510"/>
                  <a:gd name="connsiteY6" fmla="*/ 14407 h 33097"/>
                  <a:gd name="connsiteX7" fmla="*/ 30864 w 31510"/>
                  <a:gd name="connsiteY7" fmla="*/ 14407 h 33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510" h="33097">
                    <a:moveTo>
                      <a:pt x="30864" y="14407"/>
                    </a:moveTo>
                    <a:cubicBezTo>
                      <a:pt x="29554" y="10610"/>
                      <a:pt x="27852" y="7729"/>
                      <a:pt x="25365" y="4718"/>
                    </a:cubicBezTo>
                    <a:cubicBezTo>
                      <a:pt x="21306" y="-127"/>
                      <a:pt x="13057" y="-1436"/>
                      <a:pt x="7689" y="1706"/>
                    </a:cubicBezTo>
                    <a:cubicBezTo>
                      <a:pt x="1797" y="5241"/>
                      <a:pt x="-822" y="11395"/>
                      <a:pt x="226" y="18073"/>
                    </a:cubicBezTo>
                    <a:cubicBezTo>
                      <a:pt x="618" y="20561"/>
                      <a:pt x="1273" y="22917"/>
                      <a:pt x="2582" y="25143"/>
                    </a:cubicBezTo>
                    <a:cubicBezTo>
                      <a:pt x="6379" y="31821"/>
                      <a:pt x="14235" y="34832"/>
                      <a:pt x="21306" y="32083"/>
                    </a:cubicBezTo>
                    <a:cubicBezTo>
                      <a:pt x="27721" y="29595"/>
                      <a:pt x="33482" y="21608"/>
                      <a:pt x="30864" y="14407"/>
                    </a:cubicBezTo>
                    <a:lnTo>
                      <a:pt x="30864" y="14407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îṩļiḓè"/>
              <p:cNvSpPr/>
              <p:nvPr/>
            </p:nvSpPr>
            <p:spPr>
              <a:xfrm>
                <a:off x="4903170" y="-1161399"/>
                <a:ext cx="26705" cy="27917"/>
              </a:xfrm>
              <a:custGeom>
                <a:avLst/>
                <a:gdLst>
                  <a:gd name="connsiteX0" fmla="*/ 15403 w 26705"/>
                  <a:gd name="connsiteY0" fmla="*/ 26924 h 27917"/>
                  <a:gd name="connsiteX1" fmla="*/ 17498 w 26705"/>
                  <a:gd name="connsiteY1" fmla="*/ 26138 h 27917"/>
                  <a:gd name="connsiteX2" fmla="*/ 18414 w 26705"/>
                  <a:gd name="connsiteY2" fmla="*/ 2309 h 27917"/>
                  <a:gd name="connsiteX3" fmla="*/ 16450 w 26705"/>
                  <a:gd name="connsiteY3" fmla="*/ 1392 h 27917"/>
                  <a:gd name="connsiteX4" fmla="*/ 15403 w 26705"/>
                  <a:gd name="connsiteY4" fmla="*/ 26924 h 27917"/>
                  <a:gd name="connsiteX5" fmla="*/ 15403 w 26705"/>
                  <a:gd name="connsiteY5" fmla="*/ 26924 h 27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705" h="27917">
                    <a:moveTo>
                      <a:pt x="15403" y="26924"/>
                    </a:moveTo>
                    <a:cubicBezTo>
                      <a:pt x="16057" y="26662"/>
                      <a:pt x="16843" y="26400"/>
                      <a:pt x="17498" y="26138"/>
                    </a:cubicBezTo>
                    <a:cubicBezTo>
                      <a:pt x="29282" y="21818"/>
                      <a:pt x="29936" y="7677"/>
                      <a:pt x="18414" y="2309"/>
                    </a:cubicBezTo>
                    <a:cubicBezTo>
                      <a:pt x="17760" y="2047"/>
                      <a:pt x="17105" y="1654"/>
                      <a:pt x="16450" y="1392"/>
                    </a:cubicBezTo>
                    <a:cubicBezTo>
                      <a:pt x="-4368" y="-8166"/>
                      <a:pt x="-6201" y="34911"/>
                      <a:pt x="15403" y="26924"/>
                    </a:cubicBezTo>
                    <a:lnTo>
                      <a:pt x="15403" y="26924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ïṩļiďè"/>
              <p:cNvSpPr/>
              <p:nvPr/>
            </p:nvSpPr>
            <p:spPr>
              <a:xfrm>
                <a:off x="4695193" y="-1122872"/>
                <a:ext cx="25594" cy="36220"/>
              </a:xfrm>
              <a:custGeom>
                <a:avLst/>
                <a:gdLst>
                  <a:gd name="connsiteX0" fmla="*/ 9 w 25594"/>
                  <a:gd name="connsiteY0" fmla="*/ 10786 h 36220"/>
                  <a:gd name="connsiteX1" fmla="*/ 5378 w 25594"/>
                  <a:gd name="connsiteY1" fmla="*/ 32652 h 36220"/>
                  <a:gd name="connsiteX2" fmla="*/ 14805 w 25594"/>
                  <a:gd name="connsiteY2" fmla="*/ 36187 h 36220"/>
                  <a:gd name="connsiteX3" fmla="*/ 23315 w 25594"/>
                  <a:gd name="connsiteY3" fmla="*/ 31081 h 36220"/>
                  <a:gd name="connsiteX4" fmla="*/ 25017 w 25594"/>
                  <a:gd name="connsiteY4" fmla="*/ 17071 h 36220"/>
                  <a:gd name="connsiteX5" fmla="*/ 22137 w 25594"/>
                  <a:gd name="connsiteY5" fmla="*/ 8560 h 36220"/>
                  <a:gd name="connsiteX6" fmla="*/ 10222 w 25594"/>
                  <a:gd name="connsiteY6" fmla="*/ 50 h 36220"/>
                  <a:gd name="connsiteX7" fmla="*/ 9 w 25594"/>
                  <a:gd name="connsiteY7" fmla="*/ 10786 h 36220"/>
                  <a:gd name="connsiteX8" fmla="*/ 9 w 25594"/>
                  <a:gd name="connsiteY8" fmla="*/ 10786 h 36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594" h="36220">
                    <a:moveTo>
                      <a:pt x="9" y="10786"/>
                    </a:moveTo>
                    <a:cubicBezTo>
                      <a:pt x="271" y="17987"/>
                      <a:pt x="-514" y="27415"/>
                      <a:pt x="5378" y="32652"/>
                    </a:cubicBezTo>
                    <a:cubicBezTo>
                      <a:pt x="8127" y="35140"/>
                      <a:pt x="11008" y="36449"/>
                      <a:pt x="14805" y="36187"/>
                    </a:cubicBezTo>
                    <a:cubicBezTo>
                      <a:pt x="18078" y="35925"/>
                      <a:pt x="21744" y="34223"/>
                      <a:pt x="23315" y="31081"/>
                    </a:cubicBezTo>
                    <a:cubicBezTo>
                      <a:pt x="25541" y="26629"/>
                      <a:pt x="26196" y="22046"/>
                      <a:pt x="25017" y="17071"/>
                    </a:cubicBezTo>
                    <a:cubicBezTo>
                      <a:pt x="24363" y="14190"/>
                      <a:pt x="23053" y="11441"/>
                      <a:pt x="22137" y="8560"/>
                    </a:cubicBezTo>
                    <a:cubicBezTo>
                      <a:pt x="20304" y="3192"/>
                      <a:pt x="16114" y="-474"/>
                      <a:pt x="10222" y="50"/>
                    </a:cubicBezTo>
                    <a:cubicBezTo>
                      <a:pt x="4985" y="704"/>
                      <a:pt x="-252" y="5287"/>
                      <a:pt x="9" y="10786"/>
                    </a:cubicBezTo>
                    <a:lnTo>
                      <a:pt x="9" y="10786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4" name="图形 7"/>
            <p:cNvGrpSpPr/>
            <p:nvPr/>
          </p:nvGrpSpPr>
          <p:grpSpPr>
            <a:xfrm>
              <a:off x="6850436" y="-1726160"/>
              <a:ext cx="728809" cy="407062"/>
              <a:chOff x="6850436" y="-1726160"/>
              <a:chExt cx="728809" cy="407062"/>
            </a:xfrm>
            <a:solidFill>
              <a:srgbClr val="FFFFFF"/>
            </a:solidFill>
          </p:grpSpPr>
          <p:sp>
            <p:nvSpPr>
              <p:cNvPr id="64" name="íṣľidè"/>
              <p:cNvSpPr/>
              <p:nvPr/>
            </p:nvSpPr>
            <p:spPr>
              <a:xfrm>
                <a:off x="7223851" y="-1515226"/>
                <a:ext cx="39001" cy="21397"/>
              </a:xfrm>
              <a:custGeom>
                <a:avLst/>
                <a:gdLst>
                  <a:gd name="connsiteX0" fmla="*/ 8165 w 39001"/>
                  <a:gd name="connsiteY0" fmla="*/ 20949 h 21397"/>
                  <a:gd name="connsiteX1" fmla="*/ 19164 w 39001"/>
                  <a:gd name="connsiteY1" fmla="*/ 21342 h 21397"/>
                  <a:gd name="connsiteX2" fmla="*/ 31340 w 39001"/>
                  <a:gd name="connsiteY2" fmla="*/ 20426 h 21397"/>
                  <a:gd name="connsiteX3" fmla="*/ 29376 w 39001"/>
                  <a:gd name="connsiteY3" fmla="*/ 131 h 21397"/>
                  <a:gd name="connsiteX4" fmla="*/ 17200 w 39001"/>
                  <a:gd name="connsiteY4" fmla="*/ 1310 h 21397"/>
                  <a:gd name="connsiteX5" fmla="*/ 6463 w 39001"/>
                  <a:gd name="connsiteY5" fmla="*/ 3535 h 21397"/>
                  <a:gd name="connsiteX6" fmla="*/ 8165 w 39001"/>
                  <a:gd name="connsiteY6" fmla="*/ 20949 h 21397"/>
                  <a:gd name="connsiteX7" fmla="*/ 8165 w 39001"/>
                  <a:gd name="connsiteY7" fmla="*/ 20949 h 21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001" h="21397">
                    <a:moveTo>
                      <a:pt x="8165" y="20949"/>
                    </a:moveTo>
                    <a:cubicBezTo>
                      <a:pt x="11832" y="21342"/>
                      <a:pt x="15498" y="21473"/>
                      <a:pt x="19164" y="21342"/>
                    </a:cubicBezTo>
                    <a:cubicBezTo>
                      <a:pt x="23223" y="21342"/>
                      <a:pt x="27544" y="21735"/>
                      <a:pt x="31340" y="20426"/>
                    </a:cubicBezTo>
                    <a:cubicBezTo>
                      <a:pt x="42601" y="16760"/>
                      <a:pt x="41030" y="1702"/>
                      <a:pt x="29376" y="131"/>
                    </a:cubicBezTo>
                    <a:cubicBezTo>
                      <a:pt x="25449" y="-393"/>
                      <a:pt x="21128" y="786"/>
                      <a:pt x="17200" y="1310"/>
                    </a:cubicBezTo>
                    <a:cubicBezTo>
                      <a:pt x="13534" y="1833"/>
                      <a:pt x="9998" y="2488"/>
                      <a:pt x="6463" y="3535"/>
                    </a:cubicBezTo>
                    <a:cubicBezTo>
                      <a:pt x="-3095" y="6547"/>
                      <a:pt x="-1654" y="19771"/>
                      <a:pt x="8165" y="20949"/>
                    </a:cubicBezTo>
                    <a:lnTo>
                      <a:pt x="8165" y="2094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îṥḷîḓè"/>
              <p:cNvSpPr/>
              <p:nvPr/>
            </p:nvSpPr>
            <p:spPr>
              <a:xfrm>
                <a:off x="7308381" y="-1460181"/>
                <a:ext cx="28545" cy="21576"/>
              </a:xfrm>
              <a:custGeom>
                <a:avLst/>
                <a:gdLst>
                  <a:gd name="connsiteX0" fmla="*/ 3897 w 28545"/>
                  <a:gd name="connsiteY0" fmla="*/ 16313 h 21576"/>
                  <a:gd name="connsiteX1" fmla="*/ 17907 w 28545"/>
                  <a:gd name="connsiteY1" fmla="*/ 21551 h 21576"/>
                  <a:gd name="connsiteX2" fmla="*/ 28382 w 28545"/>
                  <a:gd name="connsiteY2" fmla="*/ 13040 h 21576"/>
                  <a:gd name="connsiteX3" fmla="*/ 21442 w 28545"/>
                  <a:gd name="connsiteY3" fmla="*/ 1387 h 21576"/>
                  <a:gd name="connsiteX4" fmla="*/ 6516 w 28545"/>
                  <a:gd name="connsiteY4" fmla="*/ 732 h 21576"/>
                  <a:gd name="connsiteX5" fmla="*/ 100 w 28545"/>
                  <a:gd name="connsiteY5" fmla="*/ 7672 h 21576"/>
                  <a:gd name="connsiteX6" fmla="*/ 3897 w 28545"/>
                  <a:gd name="connsiteY6" fmla="*/ 16313 h 21576"/>
                  <a:gd name="connsiteX7" fmla="*/ 3897 w 28545"/>
                  <a:gd name="connsiteY7" fmla="*/ 16313 h 21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545" h="21576">
                    <a:moveTo>
                      <a:pt x="3897" y="16313"/>
                    </a:moveTo>
                    <a:cubicBezTo>
                      <a:pt x="7432" y="19194"/>
                      <a:pt x="13324" y="21158"/>
                      <a:pt x="17907" y="21551"/>
                    </a:cubicBezTo>
                    <a:cubicBezTo>
                      <a:pt x="23013" y="21943"/>
                      <a:pt x="27596" y="17884"/>
                      <a:pt x="28382" y="13040"/>
                    </a:cubicBezTo>
                    <a:cubicBezTo>
                      <a:pt x="29298" y="7934"/>
                      <a:pt x="26287" y="3220"/>
                      <a:pt x="21442" y="1387"/>
                    </a:cubicBezTo>
                    <a:cubicBezTo>
                      <a:pt x="17121" y="-184"/>
                      <a:pt x="10967" y="-446"/>
                      <a:pt x="6516" y="732"/>
                    </a:cubicBezTo>
                    <a:cubicBezTo>
                      <a:pt x="3242" y="1649"/>
                      <a:pt x="624" y="4267"/>
                      <a:pt x="100" y="7672"/>
                    </a:cubicBezTo>
                    <a:cubicBezTo>
                      <a:pt x="-424" y="11207"/>
                      <a:pt x="1147" y="14087"/>
                      <a:pt x="3897" y="16313"/>
                    </a:cubicBezTo>
                    <a:lnTo>
                      <a:pt x="3897" y="1631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ïṩ1îdè"/>
              <p:cNvSpPr/>
              <p:nvPr/>
            </p:nvSpPr>
            <p:spPr>
              <a:xfrm>
                <a:off x="7326743" y="-1510425"/>
                <a:ext cx="33095" cy="19945"/>
              </a:xfrm>
              <a:custGeom>
                <a:avLst/>
                <a:gdLst>
                  <a:gd name="connsiteX0" fmla="*/ 7663 w 33095"/>
                  <a:gd name="connsiteY0" fmla="*/ 19814 h 19945"/>
                  <a:gd name="connsiteX1" fmla="*/ 15911 w 33095"/>
                  <a:gd name="connsiteY1" fmla="*/ 19945 h 19945"/>
                  <a:gd name="connsiteX2" fmla="*/ 25601 w 33095"/>
                  <a:gd name="connsiteY2" fmla="*/ 19160 h 19945"/>
                  <a:gd name="connsiteX3" fmla="*/ 33064 w 33095"/>
                  <a:gd name="connsiteY3" fmla="*/ 8816 h 19945"/>
                  <a:gd name="connsiteX4" fmla="*/ 23898 w 33095"/>
                  <a:gd name="connsiteY4" fmla="*/ 43 h 19945"/>
                  <a:gd name="connsiteX5" fmla="*/ 6222 w 33095"/>
                  <a:gd name="connsiteY5" fmla="*/ 3710 h 19945"/>
                  <a:gd name="connsiteX6" fmla="*/ 7663 w 33095"/>
                  <a:gd name="connsiteY6" fmla="*/ 19814 h 19945"/>
                  <a:gd name="connsiteX7" fmla="*/ 7663 w 33095"/>
                  <a:gd name="connsiteY7" fmla="*/ 19814 h 19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095" h="19945">
                    <a:moveTo>
                      <a:pt x="7663" y="19814"/>
                    </a:moveTo>
                    <a:cubicBezTo>
                      <a:pt x="10412" y="19945"/>
                      <a:pt x="13162" y="19945"/>
                      <a:pt x="15911" y="19945"/>
                    </a:cubicBezTo>
                    <a:cubicBezTo>
                      <a:pt x="19054" y="19814"/>
                      <a:pt x="22589" y="20076"/>
                      <a:pt x="25601" y="19160"/>
                    </a:cubicBezTo>
                    <a:cubicBezTo>
                      <a:pt x="30183" y="17588"/>
                      <a:pt x="33457" y="13922"/>
                      <a:pt x="33064" y="8816"/>
                    </a:cubicBezTo>
                    <a:cubicBezTo>
                      <a:pt x="32671" y="3971"/>
                      <a:pt x="28743" y="305"/>
                      <a:pt x="23898" y="43"/>
                    </a:cubicBezTo>
                    <a:cubicBezTo>
                      <a:pt x="18268" y="-349"/>
                      <a:pt x="11591" y="2007"/>
                      <a:pt x="6222" y="3710"/>
                    </a:cubicBezTo>
                    <a:cubicBezTo>
                      <a:pt x="-2550" y="6066"/>
                      <a:pt x="-2026" y="19290"/>
                      <a:pt x="7663" y="19814"/>
                    </a:cubicBezTo>
                    <a:lnTo>
                      <a:pt x="7663" y="19814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iŝļîḑe"/>
              <p:cNvSpPr/>
              <p:nvPr/>
            </p:nvSpPr>
            <p:spPr>
              <a:xfrm>
                <a:off x="7226529" y="-1597367"/>
                <a:ext cx="25920" cy="20216"/>
              </a:xfrm>
              <a:custGeom>
                <a:avLst/>
                <a:gdLst>
                  <a:gd name="connsiteX0" fmla="*/ 3000 w 25920"/>
                  <a:gd name="connsiteY0" fmla="*/ 15365 h 20216"/>
                  <a:gd name="connsiteX1" fmla="*/ 12820 w 25920"/>
                  <a:gd name="connsiteY1" fmla="*/ 19686 h 20216"/>
                  <a:gd name="connsiteX2" fmla="*/ 25913 w 25920"/>
                  <a:gd name="connsiteY2" fmla="*/ 10520 h 20216"/>
                  <a:gd name="connsiteX3" fmla="*/ 13605 w 25920"/>
                  <a:gd name="connsiteY3" fmla="*/ 308 h 20216"/>
                  <a:gd name="connsiteX4" fmla="*/ 3393 w 25920"/>
                  <a:gd name="connsiteY4" fmla="*/ 3712 h 20216"/>
                  <a:gd name="connsiteX5" fmla="*/ 3000 w 25920"/>
                  <a:gd name="connsiteY5" fmla="*/ 15365 h 20216"/>
                  <a:gd name="connsiteX6" fmla="*/ 3000 w 25920"/>
                  <a:gd name="connsiteY6" fmla="*/ 15365 h 20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5920" h="20216">
                    <a:moveTo>
                      <a:pt x="3000" y="15365"/>
                    </a:moveTo>
                    <a:cubicBezTo>
                      <a:pt x="6142" y="17198"/>
                      <a:pt x="9415" y="18376"/>
                      <a:pt x="12820" y="19686"/>
                    </a:cubicBezTo>
                    <a:cubicBezTo>
                      <a:pt x="18974" y="21912"/>
                      <a:pt x="25651" y="16805"/>
                      <a:pt x="25913" y="10520"/>
                    </a:cubicBezTo>
                    <a:cubicBezTo>
                      <a:pt x="26175" y="4236"/>
                      <a:pt x="19890" y="-1394"/>
                      <a:pt x="13605" y="308"/>
                    </a:cubicBezTo>
                    <a:cubicBezTo>
                      <a:pt x="10070" y="1224"/>
                      <a:pt x="6666" y="2141"/>
                      <a:pt x="3393" y="3712"/>
                    </a:cubicBezTo>
                    <a:cubicBezTo>
                      <a:pt x="-928" y="6069"/>
                      <a:pt x="-1190" y="12877"/>
                      <a:pt x="3000" y="15365"/>
                    </a:cubicBezTo>
                    <a:lnTo>
                      <a:pt x="3000" y="15365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íṣḻîḓé"/>
              <p:cNvSpPr/>
              <p:nvPr/>
            </p:nvSpPr>
            <p:spPr>
              <a:xfrm>
                <a:off x="7114103" y="-1561908"/>
                <a:ext cx="25677" cy="24339"/>
              </a:xfrm>
              <a:custGeom>
                <a:avLst/>
                <a:gdLst>
                  <a:gd name="connsiteX0" fmla="*/ 206 w 25677"/>
                  <a:gd name="connsiteY0" fmla="*/ 6486 h 24339"/>
                  <a:gd name="connsiteX1" fmla="*/ 991 w 25677"/>
                  <a:gd name="connsiteY1" fmla="*/ 10152 h 24339"/>
                  <a:gd name="connsiteX2" fmla="*/ 4264 w 25677"/>
                  <a:gd name="connsiteY2" fmla="*/ 16044 h 24339"/>
                  <a:gd name="connsiteX3" fmla="*/ 13299 w 25677"/>
                  <a:gd name="connsiteY3" fmla="*/ 23769 h 24339"/>
                  <a:gd name="connsiteX4" fmla="*/ 24559 w 25677"/>
                  <a:gd name="connsiteY4" fmla="*/ 10283 h 24339"/>
                  <a:gd name="connsiteX5" fmla="*/ 15524 w 25677"/>
                  <a:gd name="connsiteY5" fmla="*/ 2558 h 24339"/>
                  <a:gd name="connsiteX6" fmla="*/ 9502 w 25677"/>
                  <a:gd name="connsiteY6" fmla="*/ 332 h 24339"/>
                  <a:gd name="connsiteX7" fmla="*/ 6883 w 25677"/>
                  <a:gd name="connsiteY7" fmla="*/ 332 h 24339"/>
                  <a:gd name="connsiteX8" fmla="*/ 5443 w 25677"/>
                  <a:gd name="connsiteY8" fmla="*/ 70 h 24339"/>
                  <a:gd name="connsiteX9" fmla="*/ 206 w 25677"/>
                  <a:gd name="connsiteY9" fmla="*/ 6486 h 24339"/>
                  <a:gd name="connsiteX10" fmla="*/ 206 w 25677"/>
                  <a:gd name="connsiteY10" fmla="*/ 6486 h 24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5677" h="24339">
                    <a:moveTo>
                      <a:pt x="206" y="6486"/>
                    </a:moveTo>
                    <a:cubicBezTo>
                      <a:pt x="467" y="7533"/>
                      <a:pt x="598" y="8581"/>
                      <a:pt x="991" y="10152"/>
                    </a:cubicBezTo>
                    <a:cubicBezTo>
                      <a:pt x="1646" y="12509"/>
                      <a:pt x="2824" y="14080"/>
                      <a:pt x="4264" y="16044"/>
                    </a:cubicBezTo>
                    <a:cubicBezTo>
                      <a:pt x="6883" y="19448"/>
                      <a:pt x="9240" y="22067"/>
                      <a:pt x="13299" y="23769"/>
                    </a:cubicBezTo>
                    <a:cubicBezTo>
                      <a:pt x="20893" y="26780"/>
                      <a:pt x="28618" y="17222"/>
                      <a:pt x="24559" y="10283"/>
                    </a:cubicBezTo>
                    <a:cubicBezTo>
                      <a:pt x="22333" y="6486"/>
                      <a:pt x="19322" y="4522"/>
                      <a:pt x="15524" y="2558"/>
                    </a:cubicBezTo>
                    <a:cubicBezTo>
                      <a:pt x="13561" y="1511"/>
                      <a:pt x="11727" y="725"/>
                      <a:pt x="9502" y="332"/>
                    </a:cubicBezTo>
                    <a:cubicBezTo>
                      <a:pt x="8585" y="201"/>
                      <a:pt x="7799" y="332"/>
                      <a:pt x="6883" y="332"/>
                    </a:cubicBezTo>
                    <a:cubicBezTo>
                      <a:pt x="4264" y="332"/>
                      <a:pt x="7799" y="463"/>
                      <a:pt x="5443" y="70"/>
                    </a:cubicBezTo>
                    <a:cubicBezTo>
                      <a:pt x="2300" y="-584"/>
                      <a:pt x="-842" y="3474"/>
                      <a:pt x="206" y="6486"/>
                    </a:cubicBezTo>
                    <a:lnTo>
                      <a:pt x="206" y="6486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îšḷídé"/>
              <p:cNvSpPr/>
              <p:nvPr/>
            </p:nvSpPr>
            <p:spPr>
              <a:xfrm>
                <a:off x="7110589" y="-1442075"/>
                <a:ext cx="26098" cy="29415"/>
              </a:xfrm>
              <a:custGeom>
                <a:avLst/>
                <a:gdLst>
                  <a:gd name="connsiteX0" fmla="*/ 970 w 26098"/>
                  <a:gd name="connsiteY0" fmla="*/ 13002 h 29415"/>
                  <a:gd name="connsiteX1" fmla="*/ 10659 w 26098"/>
                  <a:gd name="connsiteY1" fmla="*/ 27798 h 29415"/>
                  <a:gd name="connsiteX2" fmla="*/ 25847 w 26098"/>
                  <a:gd name="connsiteY2" fmla="*/ 17061 h 29415"/>
                  <a:gd name="connsiteX3" fmla="*/ 15372 w 26098"/>
                  <a:gd name="connsiteY3" fmla="*/ 2790 h 29415"/>
                  <a:gd name="connsiteX4" fmla="*/ 3850 w 26098"/>
                  <a:gd name="connsiteY4" fmla="*/ 1611 h 29415"/>
                  <a:gd name="connsiteX5" fmla="*/ 970 w 26098"/>
                  <a:gd name="connsiteY5" fmla="*/ 13002 h 29415"/>
                  <a:gd name="connsiteX6" fmla="*/ 970 w 26098"/>
                  <a:gd name="connsiteY6" fmla="*/ 13002 h 29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6098" h="29415">
                    <a:moveTo>
                      <a:pt x="970" y="13002"/>
                    </a:moveTo>
                    <a:cubicBezTo>
                      <a:pt x="3589" y="18240"/>
                      <a:pt x="5684" y="24394"/>
                      <a:pt x="10659" y="27798"/>
                    </a:cubicBezTo>
                    <a:cubicBezTo>
                      <a:pt x="17860" y="32773"/>
                      <a:pt x="27811" y="25441"/>
                      <a:pt x="25847" y="17061"/>
                    </a:cubicBezTo>
                    <a:cubicBezTo>
                      <a:pt x="24407" y="11300"/>
                      <a:pt x="19300" y="6980"/>
                      <a:pt x="15372" y="2790"/>
                    </a:cubicBezTo>
                    <a:cubicBezTo>
                      <a:pt x="12361" y="-484"/>
                      <a:pt x="7386" y="-876"/>
                      <a:pt x="3850" y="1611"/>
                    </a:cubicBezTo>
                    <a:cubicBezTo>
                      <a:pt x="54" y="4230"/>
                      <a:pt x="-994" y="8944"/>
                      <a:pt x="970" y="13002"/>
                    </a:cubicBezTo>
                    <a:lnTo>
                      <a:pt x="970" y="13002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işlïde"/>
              <p:cNvSpPr/>
              <p:nvPr/>
            </p:nvSpPr>
            <p:spPr>
              <a:xfrm>
                <a:off x="7192299" y="-1455501"/>
                <a:ext cx="25080" cy="25151"/>
              </a:xfrm>
              <a:custGeom>
                <a:avLst/>
                <a:gdLst>
                  <a:gd name="connsiteX0" fmla="*/ 9210 w 25080"/>
                  <a:gd name="connsiteY0" fmla="*/ 19751 h 25151"/>
                  <a:gd name="connsiteX1" fmla="*/ 6329 w 25080"/>
                  <a:gd name="connsiteY1" fmla="*/ 18572 h 25151"/>
                  <a:gd name="connsiteX2" fmla="*/ 5151 w 25080"/>
                  <a:gd name="connsiteY2" fmla="*/ 17525 h 25151"/>
                  <a:gd name="connsiteX3" fmla="*/ 5151 w 25080"/>
                  <a:gd name="connsiteY3" fmla="*/ 17263 h 25151"/>
                  <a:gd name="connsiteX4" fmla="*/ 4365 w 25080"/>
                  <a:gd name="connsiteY4" fmla="*/ 15823 h 25151"/>
                  <a:gd name="connsiteX5" fmla="*/ 4104 w 25080"/>
                  <a:gd name="connsiteY5" fmla="*/ 15299 h 25151"/>
                  <a:gd name="connsiteX6" fmla="*/ 3973 w 25080"/>
                  <a:gd name="connsiteY6" fmla="*/ 14383 h 25151"/>
                  <a:gd name="connsiteX7" fmla="*/ 12614 w 25080"/>
                  <a:gd name="connsiteY7" fmla="*/ 24988 h 25151"/>
                  <a:gd name="connsiteX8" fmla="*/ 24398 w 25080"/>
                  <a:gd name="connsiteY8" fmla="*/ 17918 h 25151"/>
                  <a:gd name="connsiteX9" fmla="*/ 5020 w 25080"/>
                  <a:gd name="connsiteY9" fmla="*/ 1682 h 25151"/>
                  <a:gd name="connsiteX10" fmla="*/ 307 w 25080"/>
                  <a:gd name="connsiteY10" fmla="*/ 12157 h 25151"/>
                  <a:gd name="connsiteX11" fmla="*/ 9210 w 25080"/>
                  <a:gd name="connsiteY11" fmla="*/ 19751 h 25151"/>
                  <a:gd name="connsiteX12" fmla="*/ 9210 w 25080"/>
                  <a:gd name="connsiteY12" fmla="*/ 19751 h 25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080" h="25151">
                    <a:moveTo>
                      <a:pt x="9210" y="19751"/>
                    </a:moveTo>
                    <a:cubicBezTo>
                      <a:pt x="11043" y="19620"/>
                      <a:pt x="6329" y="18703"/>
                      <a:pt x="6329" y="18572"/>
                    </a:cubicBezTo>
                    <a:cubicBezTo>
                      <a:pt x="5937" y="18180"/>
                      <a:pt x="5544" y="17918"/>
                      <a:pt x="5151" y="17525"/>
                    </a:cubicBezTo>
                    <a:cubicBezTo>
                      <a:pt x="5675" y="18049"/>
                      <a:pt x="5675" y="18049"/>
                      <a:pt x="5151" y="17263"/>
                    </a:cubicBezTo>
                    <a:cubicBezTo>
                      <a:pt x="4758" y="16870"/>
                      <a:pt x="4496" y="16346"/>
                      <a:pt x="4365" y="15823"/>
                    </a:cubicBezTo>
                    <a:cubicBezTo>
                      <a:pt x="4104" y="14906"/>
                      <a:pt x="3973" y="14775"/>
                      <a:pt x="4104" y="15299"/>
                    </a:cubicBezTo>
                    <a:cubicBezTo>
                      <a:pt x="4496" y="15954"/>
                      <a:pt x="3711" y="17918"/>
                      <a:pt x="3973" y="14383"/>
                    </a:cubicBezTo>
                    <a:cubicBezTo>
                      <a:pt x="3580" y="19620"/>
                      <a:pt x="7639" y="24202"/>
                      <a:pt x="12614" y="24988"/>
                    </a:cubicBezTo>
                    <a:cubicBezTo>
                      <a:pt x="17721" y="25905"/>
                      <a:pt x="22696" y="22893"/>
                      <a:pt x="24398" y="17918"/>
                    </a:cubicBezTo>
                    <a:cubicBezTo>
                      <a:pt x="28195" y="6919"/>
                      <a:pt x="15364" y="-4341"/>
                      <a:pt x="5020" y="1682"/>
                    </a:cubicBezTo>
                    <a:cubicBezTo>
                      <a:pt x="1485" y="3777"/>
                      <a:pt x="-872" y="8098"/>
                      <a:pt x="307" y="12157"/>
                    </a:cubicBezTo>
                    <a:cubicBezTo>
                      <a:pt x="1354" y="16085"/>
                      <a:pt x="5020" y="20013"/>
                      <a:pt x="9210" y="19751"/>
                    </a:cubicBezTo>
                    <a:lnTo>
                      <a:pt x="9210" y="19751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í$ḷide"/>
              <p:cNvSpPr/>
              <p:nvPr/>
            </p:nvSpPr>
            <p:spPr>
              <a:xfrm>
                <a:off x="7044006" y="-1494032"/>
                <a:ext cx="27225" cy="19406"/>
              </a:xfrm>
              <a:custGeom>
                <a:avLst/>
                <a:gdLst>
                  <a:gd name="connsiteX0" fmla="*/ 5622 w 27225"/>
                  <a:gd name="connsiteY0" fmla="*/ 17300 h 19406"/>
                  <a:gd name="connsiteX1" fmla="*/ 17144 w 27225"/>
                  <a:gd name="connsiteY1" fmla="*/ 19395 h 19406"/>
                  <a:gd name="connsiteX2" fmla="*/ 27226 w 27225"/>
                  <a:gd name="connsiteY2" fmla="*/ 10099 h 19406"/>
                  <a:gd name="connsiteX3" fmla="*/ 17930 w 27225"/>
                  <a:gd name="connsiteY3" fmla="*/ 17 h 19406"/>
                  <a:gd name="connsiteX4" fmla="*/ 6276 w 27225"/>
                  <a:gd name="connsiteY4" fmla="*/ 1195 h 19406"/>
                  <a:gd name="connsiteX5" fmla="*/ 5622 w 27225"/>
                  <a:gd name="connsiteY5" fmla="*/ 17300 h 19406"/>
                  <a:gd name="connsiteX6" fmla="*/ 5622 w 27225"/>
                  <a:gd name="connsiteY6" fmla="*/ 17300 h 19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225" h="19406">
                    <a:moveTo>
                      <a:pt x="5622" y="17300"/>
                    </a:moveTo>
                    <a:cubicBezTo>
                      <a:pt x="9419" y="18216"/>
                      <a:pt x="13085" y="19264"/>
                      <a:pt x="17144" y="19395"/>
                    </a:cubicBezTo>
                    <a:cubicBezTo>
                      <a:pt x="22250" y="19657"/>
                      <a:pt x="27226" y="15336"/>
                      <a:pt x="27226" y="10099"/>
                    </a:cubicBezTo>
                    <a:cubicBezTo>
                      <a:pt x="27226" y="4861"/>
                      <a:pt x="23298" y="148"/>
                      <a:pt x="17930" y="17"/>
                    </a:cubicBezTo>
                    <a:cubicBezTo>
                      <a:pt x="14001" y="-114"/>
                      <a:pt x="10204" y="541"/>
                      <a:pt x="6276" y="1195"/>
                    </a:cubicBezTo>
                    <a:cubicBezTo>
                      <a:pt x="-1710" y="2505"/>
                      <a:pt x="-2234" y="15336"/>
                      <a:pt x="5622" y="17300"/>
                    </a:cubicBezTo>
                    <a:lnTo>
                      <a:pt x="5622" y="17300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i$ľide"/>
              <p:cNvSpPr/>
              <p:nvPr/>
            </p:nvSpPr>
            <p:spPr>
              <a:xfrm>
                <a:off x="7028866" y="-1610947"/>
                <a:ext cx="20049" cy="20706"/>
              </a:xfrm>
              <a:custGeom>
                <a:avLst/>
                <a:gdLst>
                  <a:gd name="connsiteX0" fmla="*/ 9632 w 20049"/>
                  <a:gd name="connsiteY0" fmla="*/ 20697 h 20706"/>
                  <a:gd name="connsiteX1" fmla="*/ 10418 w 20049"/>
                  <a:gd name="connsiteY1" fmla="*/ 10 h 20706"/>
                  <a:gd name="connsiteX2" fmla="*/ 9632 w 20049"/>
                  <a:gd name="connsiteY2" fmla="*/ 20697 h 20706"/>
                  <a:gd name="connsiteX3" fmla="*/ 9632 w 20049"/>
                  <a:gd name="connsiteY3" fmla="*/ 20697 h 20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049" h="20706">
                    <a:moveTo>
                      <a:pt x="9632" y="20697"/>
                    </a:moveTo>
                    <a:cubicBezTo>
                      <a:pt x="22987" y="21221"/>
                      <a:pt x="23773" y="533"/>
                      <a:pt x="10418" y="10"/>
                    </a:cubicBezTo>
                    <a:cubicBezTo>
                      <a:pt x="-2937" y="-514"/>
                      <a:pt x="-3723" y="20173"/>
                      <a:pt x="9632" y="20697"/>
                    </a:cubicBezTo>
                    <a:lnTo>
                      <a:pt x="9632" y="20697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îŝ1íḓè"/>
              <p:cNvSpPr/>
              <p:nvPr/>
            </p:nvSpPr>
            <p:spPr>
              <a:xfrm>
                <a:off x="7139027" y="-1654420"/>
                <a:ext cx="23540" cy="24379"/>
              </a:xfrm>
              <a:custGeom>
                <a:avLst/>
                <a:gdLst>
                  <a:gd name="connsiteX0" fmla="*/ 11288 w 23540"/>
                  <a:gd name="connsiteY0" fmla="*/ 24366 h 24379"/>
                  <a:gd name="connsiteX1" fmla="*/ 12205 w 23540"/>
                  <a:gd name="connsiteY1" fmla="*/ 13 h 24379"/>
                  <a:gd name="connsiteX2" fmla="*/ 11288 w 23540"/>
                  <a:gd name="connsiteY2" fmla="*/ 24366 h 24379"/>
                  <a:gd name="connsiteX3" fmla="*/ 11288 w 23540"/>
                  <a:gd name="connsiteY3" fmla="*/ 24366 h 24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540" h="24379">
                    <a:moveTo>
                      <a:pt x="11288" y="24366"/>
                    </a:moveTo>
                    <a:cubicBezTo>
                      <a:pt x="27000" y="25021"/>
                      <a:pt x="27917" y="668"/>
                      <a:pt x="12205" y="13"/>
                    </a:cubicBezTo>
                    <a:cubicBezTo>
                      <a:pt x="-3376" y="-642"/>
                      <a:pt x="-4424" y="23712"/>
                      <a:pt x="11288" y="24366"/>
                    </a:cubicBezTo>
                    <a:lnTo>
                      <a:pt x="11288" y="24366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îşḷiďê"/>
              <p:cNvSpPr/>
              <p:nvPr/>
            </p:nvSpPr>
            <p:spPr>
              <a:xfrm>
                <a:off x="7371365" y="-1592214"/>
                <a:ext cx="30141" cy="18694"/>
              </a:xfrm>
              <a:custGeom>
                <a:avLst/>
                <a:gdLst>
                  <a:gd name="connsiteX0" fmla="*/ 5463 w 30141"/>
                  <a:gd name="connsiteY0" fmla="*/ 16105 h 18694"/>
                  <a:gd name="connsiteX1" fmla="*/ 24710 w 30141"/>
                  <a:gd name="connsiteY1" fmla="*/ 18069 h 18694"/>
                  <a:gd name="connsiteX2" fmla="*/ 26936 w 30141"/>
                  <a:gd name="connsiteY2" fmla="*/ 4975 h 18694"/>
                  <a:gd name="connsiteX3" fmla="*/ 8343 w 30141"/>
                  <a:gd name="connsiteY3" fmla="*/ 0 h 18694"/>
                  <a:gd name="connsiteX4" fmla="*/ 5463 w 30141"/>
                  <a:gd name="connsiteY4" fmla="*/ 16105 h 18694"/>
                  <a:gd name="connsiteX5" fmla="*/ 5463 w 30141"/>
                  <a:gd name="connsiteY5" fmla="*/ 16105 h 18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141" h="18694">
                    <a:moveTo>
                      <a:pt x="5463" y="16105"/>
                    </a:moveTo>
                    <a:cubicBezTo>
                      <a:pt x="11878" y="18592"/>
                      <a:pt x="17902" y="19378"/>
                      <a:pt x="24710" y="18069"/>
                    </a:cubicBezTo>
                    <a:cubicBezTo>
                      <a:pt x="30864" y="16890"/>
                      <a:pt x="32042" y="8249"/>
                      <a:pt x="26936" y="4975"/>
                    </a:cubicBezTo>
                    <a:cubicBezTo>
                      <a:pt x="21044" y="1309"/>
                      <a:pt x="15152" y="0"/>
                      <a:pt x="8343" y="0"/>
                    </a:cubicBezTo>
                    <a:cubicBezTo>
                      <a:pt x="-1084" y="131"/>
                      <a:pt x="-3179" y="12831"/>
                      <a:pt x="5463" y="16105"/>
                    </a:cubicBezTo>
                    <a:lnTo>
                      <a:pt x="5463" y="16105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îṣľîḑe"/>
              <p:cNvSpPr/>
              <p:nvPr/>
            </p:nvSpPr>
            <p:spPr>
              <a:xfrm>
                <a:off x="7429081" y="-1441474"/>
                <a:ext cx="23931" cy="21830"/>
              </a:xfrm>
              <a:custGeom>
                <a:avLst/>
                <a:gdLst>
                  <a:gd name="connsiteX0" fmla="*/ 2084 w 23931"/>
                  <a:gd name="connsiteY0" fmla="*/ 13710 h 21830"/>
                  <a:gd name="connsiteX1" fmla="*/ 15308 w 23931"/>
                  <a:gd name="connsiteY1" fmla="*/ 21828 h 21830"/>
                  <a:gd name="connsiteX2" fmla="*/ 23557 w 23931"/>
                  <a:gd name="connsiteY2" fmla="*/ 11746 h 21830"/>
                  <a:gd name="connsiteX3" fmla="*/ 17665 w 23931"/>
                  <a:gd name="connsiteY3" fmla="*/ 3497 h 21830"/>
                  <a:gd name="connsiteX4" fmla="*/ 10594 w 23931"/>
                  <a:gd name="connsiteY4" fmla="*/ 355 h 21830"/>
                  <a:gd name="connsiteX5" fmla="*/ 1167 w 23931"/>
                  <a:gd name="connsiteY5" fmla="*/ 3759 h 21830"/>
                  <a:gd name="connsiteX6" fmla="*/ 2084 w 23931"/>
                  <a:gd name="connsiteY6" fmla="*/ 13710 h 21830"/>
                  <a:gd name="connsiteX7" fmla="*/ 2084 w 23931"/>
                  <a:gd name="connsiteY7" fmla="*/ 13710 h 21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31" h="21830">
                    <a:moveTo>
                      <a:pt x="2084" y="13710"/>
                    </a:moveTo>
                    <a:cubicBezTo>
                      <a:pt x="5488" y="18293"/>
                      <a:pt x="9285" y="21697"/>
                      <a:pt x="15308" y="21828"/>
                    </a:cubicBezTo>
                    <a:cubicBezTo>
                      <a:pt x="20153" y="21959"/>
                      <a:pt x="25390" y="16984"/>
                      <a:pt x="23557" y="11746"/>
                    </a:cubicBezTo>
                    <a:cubicBezTo>
                      <a:pt x="22248" y="8080"/>
                      <a:pt x="20938" y="5723"/>
                      <a:pt x="17665" y="3497"/>
                    </a:cubicBezTo>
                    <a:cubicBezTo>
                      <a:pt x="15439" y="2057"/>
                      <a:pt x="13082" y="1272"/>
                      <a:pt x="10594" y="355"/>
                    </a:cubicBezTo>
                    <a:cubicBezTo>
                      <a:pt x="7321" y="-692"/>
                      <a:pt x="3000" y="617"/>
                      <a:pt x="1167" y="3759"/>
                    </a:cubicBezTo>
                    <a:cubicBezTo>
                      <a:pt x="-797" y="7164"/>
                      <a:pt x="-142" y="10699"/>
                      <a:pt x="2084" y="13710"/>
                    </a:cubicBezTo>
                    <a:lnTo>
                      <a:pt x="2084" y="13710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íśļîdè"/>
              <p:cNvSpPr/>
              <p:nvPr/>
            </p:nvSpPr>
            <p:spPr>
              <a:xfrm>
                <a:off x="7372706" y="-1370270"/>
                <a:ext cx="26766" cy="22910"/>
              </a:xfrm>
              <a:custGeom>
                <a:avLst/>
                <a:gdLst>
                  <a:gd name="connsiteX0" fmla="*/ 5431 w 26766"/>
                  <a:gd name="connsiteY0" fmla="*/ 16876 h 22910"/>
                  <a:gd name="connsiteX1" fmla="*/ 6740 w 26766"/>
                  <a:gd name="connsiteY1" fmla="*/ 17269 h 22910"/>
                  <a:gd name="connsiteX2" fmla="*/ 8180 w 26766"/>
                  <a:gd name="connsiteY2" fmla="*/ 17531 h 22910"/>
                  <a:gd name="connsiteX3" fmla="*/ 8704 w 26766"/>
                  <a:gd name="connsiteY3" fmla="*/ 17662 h 22910"/>
                  <a:gd name="connsiteX4" fmla="*/ 9228 w 26766"/>
                  <a:gd name="connsiteY4" fmla="*/ 17924 h 22910"/>
                  <a:gd name="connsiteX5" fmla="*/ 8049 w 26766"/>
                  <a:gd name="connsiteY5" fmla="*/ 17400 h 22910"/>
                  <a:gd name="connsiteX6" fmla="*/ 8049 w 26766"/>
                  <a:gd name="connsiteY6" fmla="*/ 17269 h 22910"/>
                  <a:gd name="connsiteX7" fmla="*/ 8180 w 26766"/>
                  <a:gd name="connsiteY7" fmla="*/ 17531 h 22910"/>
                  <a:gd name="connsiteX8" fmla="*/ 10668 w 26766"/>
                  <a:gd name="connsiteY8" fmla="*/ 19888 h 22910"/>
                  <a:gd name="connsiteX9" fmla="*/ 10014 w 26766"/>
                  <a:gd name="connsiteY9" fmla="*/ 19495 h 22910"/>
                  <a:gd name="connsiteX10" fmla="*/ 14596 w 26766"/>
                  <a:gd name="connsiteY10" fmla="*/ 22375 h 22910"/>
                  <a:gd name="connsiteX11" fmla="*/ 22714 w 26766"/>
                  <a:gd name="connsiteY11" fmla="*/ 21066 h 22910"/>
                  <a:gd name="connsiteX12" fmla="*/ 26642 w 26766"/>
                  <a:gd name="connsiteY12" fmla="*/ 13996 h 22910"/>
                  <a:gd name="connsiteX13" fmla="*/ 16429 w 26766"/>
                  <a:gd name="connsiteY13" fmla="*/ 772 h 22910"/>
                  <a:gd name="connsiteX14" fmla="*/ 2288 w 26766"/>
                  <a:gd name="connsiteY14" fmla="*/ 3521 h 22910"/>
                  <a:gd name="connsiteX15" fmla="*/ 5431 w 26766"/>
                  <a:gd name="connsiteY15" fmla="*/ 16876 h 22910"/>
                  <a:gd name="connsiteX16" fmla="*/ 5431 w 26766"/>
                  <a:gd name="connsiteY16" fmla="*/ 16876 h 22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6766" h="22910">
                    <a:moveTo>
                      <a:pt x="5431" y="16876"/>
                    </a:moveTo>
                    <a:cubicBezTo>
                      <a:pt x="5824" y="17007"/>
                      <a:pt x="6216" y="17138"/>
                      <a:pt x="6740" y="17269"/>
                    </a:cubicBezTo>
                    <a:cubicBezTo>
                      <a:pt x="7264" y="17400"/>
                      <a:pt x="7656" y="17531"/>
                      <a:pt x="8180" y="17531"/>
                    </a:cubicBezTo>
                    <a:cubicBezTo>
                      <a:pt x="9490" y="17793"/>
                      <a:pt x="9751" y="17793"/>
                      <a:pt x="8704" y="17662"/>
                    </a:cubicBezTo>
                    <a:cubicBezTo>
                      <a:pt x="7264" y="16745"/>
                      <a:pt x="9097" y="18186"/>
                      <a:pt x="9228" y="17924"/>
                    </a:cubicBezTo>
                    <a:cubicBezTo>
                      <a:pt x="8835" y="17793"/>
                      <a:pt x="8442" y="17662"/>
                      <a:pt x="8049" y="17400"/>
                    </a:cubicBezTo>
                    <a:cubicBezTo>
                      <a:pt x="8704" y="17924"/>
                      <a:pt x="8704" y="17793"/>
                      <a:pt x="8049" y="17269"/>
                    </a:cubicBezTo>
                    <a:cubicBezTo>
                      <a:pt x="7656" y="16353"/>
                      <a:pt x="7788" y="17007"/>
                      <a:pt x="8180" y="17531"/>
                    </a:cubicBezTo>
                    <a:cubicBezTo>
                      <a:pt x="8966" y="18448"/>
                      <a:pt x="9751" y="19233"/>
                      <a:pt x="10668" y="19888"/>
                    </a:cubicBezTo>
                    <a:cubicBezTo>
                      <a:pt x="10275" y="19626"/>
                      <a:pt x="9097" y="18448"/>
                      <a:pt x="10014" y="19495"/>
                    </a:cubicBezTo>
                    <a:cubicBezTo>
                      <a:pt x="11454" y="20935"/>
                      <a:pt x="12763" y="21459"/>
                      <a:pt x="14596" y="22375"/>
                    </a:cubicBezTo>
                    <a:cubicBezTo>
                      <a:pt x="17215" y="23554"/>
                      <a:pt x="20619" y="22637"/>
                      <a:pt x="22714" y="21066"/>
                    </a:cubicBezTo>
                    <a:cubicBezTo>
                      <a:pt x="25332" y="19233"/>
                      <a:pt x="26118" y="17007"/>
                      <a:pt x="26642" y="13996"/>
                    </a:cubicBezTo>
                    <a:cubicBezTo>
                      <a:pt x="27689" y="7842"/>
                      <a:pt x="21928" y="2474"/>
                      <a:pt x="16429" y="772"/>
                    </a:cubicBezTo>
                    <a:cubicBezTo>
                      <a:pt x="11585" y="-669"/>
                      <a:pt x="5954" y="-276"/>
                      <a:pt x="2288" y="3521"/>
                    </a:cubicBezTo>
                    <a:cubicBezTo>
                      <a:pt x="-1378" y="7318"/>
                      <a:pt x="-854" y="15305"/>
                      <a:pt x="5431" y="16876"/>
                    </a:cubicBezTo>
                    <a:lnTo>
                      <a:pt x="5431" y="16876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ísļîḑé"/>
              <p:cNvSpPr/>
              <p:nvPr/>
            </p:nvSpPr>
            <p:spPr>
              <a:xfrm>
                <a:off x="7235806" y="-1399548"/>
                <a:ext cx="21195" cy="19689"/>
              </a:xfrm>
              <a:custGeom>
                <a:avLst/>
                <a:gdLst>
                  <a:gd name="connsiteX0" fmla="*/ 12185 w 21195"/>
                  <a:gd name="connsiteY0" fmla="*/ 19444 h 19689"/>
                  <a:gd name="connsiteX1" fmla="*/ 18469 w 21195"/>
                  <a:gd name="connsiteY1" fmla="*/ 16433 h 19689"/>
                  <a:gd name="connsiteX2" fmla="*/ 18993 w 21195"/>
                  <a:gd name="connsiteY2" fmla="*/ 3994 h 19689"/>
                  <a:gd name="connsiteX3" fmla="*/ 12970 w 21195"/>
                  <a:gd name="connsiteY3" fmla="*/ 459 h 19689"/>
                  <a:gd name="connsiteX4" fmla="*/ 8 w 21195"/>
                  <a:gd name="connsiteY4" fmla="*/ 9494 h 19689"/>
                  <a:gd name="connsiteX5" fmla="*/ 12185 w 21195"/>
                  <a:gd name="connsiteY5" fmla="*/ 19444 h 19689"/>
                  <a:gd name="connsiteX6" fmla="*/ 12185 w 21195"/>
                  <a:gd name="connsiteY6" fmla="*/ 19444 h 19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195" h="19689">
                    <a:moveTo>
                      <a:pt x="12185" y="19444"/>
                    </a:moveTo>
                    <a:cubicBezTo>
                      <a:pt x="14541" y="18921"/>
                      <a:pt x="16767" y="18135"/>
                      <a:pt x="18469" y="16433"/>
                    </a:cubicBezTo>
                    <a:cubicBezTo>
                      <a:pt x="21874" y="12767"/>
                      <a:pt x="22136" y="7922"/>
                      <a:pt x="18993" y="3994"/>
                    </a:cubicBezTo>
                    <a:cubicBezTo>
                      <a:pt x="17422" y="2030"/>
                      <a:pt x="15327" y="1114"/>
                      <a:pt x="12970" y="459"/>
                    </a:cubicBezTo>
                    <a:cubicBezTo>
                      <a:pt x="6816" y="-1505"/>
                      <a:pt x="270" y="3078"/>
                      <a:pt x="8" y="9494"/>
                    </a:cubicBezTo>
                    <a:cubicBezTo>
                      <a:pt x="-254" y="15778"/>
                      <a:pt x="5900" y="20885"/>
                      <a:pt x="12185" y="19444"/>
                    </a:cubicBezTo>
                    <a:lnTo>
                      <a:pt x="12185" y="19444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iṣḷîḑè"/>
              <p:cNvSpPr/>
              <p:nvPr/>
            </p:nvSpPr>
            <p:spPr>
              <a:xfrm>
                <a:off x="7546132" y="-1342956"/>
                <a:ext cx="33112" cy="23858"/>
              </a:xfrm>
              <a:custGeom>
                <a:avLst/>
                <a:gdLst>
                  <a:gd name="connsiteX0" fmla="*/ 2347 w 33112"/>
                  <a:gd name="connsiteY0" fmla="*/ 15225 h 23858"/>
                  <a:gd name="connsiteX1" fmla="*/ 14001 w 33112"/>
                  <a:gd name="connsiteY1" fmla="*/ 21903 h 23858"/>
                  <a:gd name="connsiteX2" fmla="*/ 28403 w 33112"/>
                  <a:gd name="connsiteY2" fmla="*/ 22295 h 23858"/>
                  <a:gd name="connsiteX3" fmla="*/ 32200 w 33112"/>
                  <a:gd name="connsiteY3" fmla="*/ 9988 h 23858"/>
                  <a:gd name="connsiteX4" fmla="*/ 21071 w 33112"/>
                  <a:gd name="connsiteY4" fmla="*/ 2001 h 23858"/>
                  <a:gd name="connsiteX5" fmla="*/ 9418 w 33112"/>
                  <a:gd name="connsiteY5" fmla="*/ 37 h 23858"/>
                  <a:gd name="connsiteX6" fmla="*/ 907 w 33112"/>
                  <a:gd name="connsiteY6" fmla="*/ 5274 h 23858"/>
                  <a:gd name="connsiteX7" fmla="*/ 2347 w 33112"/>
                  <a:gd name="connsiteY7" fmla="*/ 15225 h 23858"/>
                  <a:gd name="connsiteX8" fmla="*/ 2347 w 33112"/>
                  <a:gd name="connsiteY8" fmla="*/ 15225 h 23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3112" h="23858">
                    <a:moveTo>
                      <a:pt x="2347" y="15225"/>
                    </a:moveTo>
                    <a:cubicBezTo>
                      <a:pt x="5621" y="18237"/>
                      <a:pt x="9942" y="20331"/>
                      <a:pt x="14001" y="21903"/>
                    </a:cubicBezTo>
                    <a:cubicBezTo>
                      <a:pt x="18714" y="23867"/>
                      <a:pt x="23689" y="24914"/>
                      <a:pt x="28403" y="22295"/>
                    </a:cubicBezTo>
                    <a:cubicBezTo>
                      <a:pt x="32986" y="19677"/>
                      <a:pt x="34164" y="14570"/>
                      <a:pt x="32200" y="9988"/>
                    </a:cubicBezTo>
                    <a:cubicBezTo>
                      <a:pt x="30236" y="5405"/>
                      <a:pt x="25653" y="3310"/>
                      <a:pt x="21071" y="2001"/>
                    </a:cubicBezTo>
                    <a:cubicBezTo>
                      <a:pt x="17536" y="954"/>
                      <a:pt x="12953" y="-225"/>
                      <a:pt x="9418" y="37"/>
                    </a:cubicBezTo>
                    <a:cubicBezTo>
                      <a:pt x="5752" y="299"/>
                      <a:pt x="2478" y="1739"/>
                      <a:pt x="907" y="5274"/>
                    </a:cubicBezTo>
                    <a:cubicBezTo>
                      <a:pt x="-533" y="8286"/>
                      <a:pt x="-402" y="12737"/>
                      <a:pt x="2347" y="15225"/>
                    </a:cubicBezTo>
                    <a:lnTo>
                      <a:pt x="2347" y="15225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îŝlïḋe"/>
              <p:cNvSpPr/>
              <p:nvPr/>
            </p:nvSpPr>
            <p:spPr>
              <a:xfrm>
                <a:off x="7453252" y="-1490935"/>
                <a:ext cx="20866" cy="20240"/>
              </a:xfrm>
              <a:custGeom>
                <a:avLst/>
                <a:gdLst>
                  <a:gd name="connsiteX0" fmla="*/ 1219 w 20866"/>
                  <a:gd name="connsiteY0" fmla="*/ 14072 h 20240"/>
                  <a:gd name="connsiteX1" fmla="*/ 1481 w 20866"/>
                  <a:gd name="connsiteY1" fmla="*/ 14857 h 20240"/>
                  <a:gd name="connsiteX2" fmla="*/ 20728 w 20866"/>
                  <a:gd name="connsiteY2" fmla="*/ 10536 h 20240"/>
                  <a:gd name="connsiteX3" fmla="*/ 2004 w 20866"/>
                  <a:gd name="connsiteY3" fmla="*/ 4645 h 20240"/>
                  <a:gd name="connsiteX4" fmla="*/ 1481 w 20866"/>
                  <a:gd name="connsiteY4" fmla="*/ 5299 h 20240"/>
                  <a:gd name="connsiteX5" fmla="*/ 1088 w 20866"/>
                  <a:gd name="connsiteY5" fmla="*/ 14334 h 20240"/>
                  <a:gd name="connsiteX6" fmla="*/ 1611 w 20866"/>
                  <a:gd name="connsiteY6" fmla="*/ 14988 h 20240"/>
                  <a:gd name="connsiteX7" fmla="*/ 20858 w 20866"/>
                  <a:gd name="connsiteY7" fmla="*/ 10667 h 20240"/>
                  <a:gd name="connsiteX8" fmla="*/ 2135 w 20866"/>
                  <a:gd name="connsiteY8" fmla="*/ 4775 h 20240"/>
                  <a:gd name="connsiteX9" fmla="*/ 1219 w 20866"/>
                  <a:gd name="connsiteY9" fmla="*/ 14072 h 20240"/>
                  <a:gd name="connsiteX10" fmla="*/ 1219 w 20866"/>
                  <a:gd name="connsiteY10" fmla="*/ 14072 h 20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0866" h="20240">
                    <a:moveTo>
                      <a:pt x="1219" y="14072"/>
                    </a:moveTo>
                    <a:cubicBezTo>
                      <a:pt x="1350" y="14334"/>
                      <a:pt x="1481" y="14595"/>
                      <a:pt x="1481" y="14857"/>
                    </a:cubicBezTo>
                    <a:cubicBezTo>
                      <a:pt x="5409" y="24546"/>
                      <a:pt x="20335" y="19964"/>
                      <a:pt x="20728" y="10536"/>
                    </a:cubicBezTo>
                    <a:cubicBezTo>
                      <a:pt x="21121" y="-331"/>
                      <a:pt x="8027" y="-2688"/>
                      <a:pt x="2004" y="4645"/>
                    </a:cubicBezTo>
                    <a:cubicBezTo>
                      <a:pt x="1874" y="4906"/>
                      <a:pt x="1611" y="5037"/>
                      <a:pt x="1481" y="5299"/>
                    </a:cubicBezTo>
                    <a:cubicBezTo>
                      <a:pt x="-353" y="7525"/>
                      <a:pt x="-484" y="11977"/>
                      <a:pt x="1088" y="14334"/>
                    </a:cubicBezTo>
                    <a:cubicBezTo>
                      <a:pt x="1219" y="14595"/>
                      <a:pt x="1350" y="14726"/>
                      <a:pt x="1611" y="14988"/>
                    </a:cubicBezTo>
                    <a:cubicBezTo>
                      <a:pt x="6980" y="22844"/>
                      <a:pt x="20335" y="21535"/>
                      <a:pt x="20858" y="10667"/>
                    </a:cubicBezTo>
                    <a:cubicBezTo>
                      <a:pt x="21251" y="1240"/>
                      <a:pt x="6718" y="-4652"/>
                      <a:pt x="2135" y="4775"/>
                    </a:cubicBezTo>
                    <a:cubicBezTo>
                      <a:pt x="171" y="7918"/>
                      <a:pt x="-221" y="10406"/>
                      <a:pt x="1219" y="14072"/>
                    </a:cubicBezTo>
                    <a:lnTo>
                      <a:pt x="1219" y="14072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í$lïḑé"/>
              <p:cNvSpPr/>
              <p:nvPr/>
            </p:nvSpPr>
            <p:spPr>
              <a:xfrm>
                <a:off x="6850436" y="-1620135"/>
                <a:ext cx="31154" cy="24652"/>
              </a:xfrm>
              <a:custGeom>
                <a:avLst/>
                <a:gdLst>
                  <a:gd name="connsiteX0" fmla="*/ 28718 w 31154"/>
                  <a:gd name="connsiteY0" fmla="*/ 9198 h 24652"/>
                  <a:gd name="connsiteX1" fmla="*/ 7900 w 31154"/>
                  <a:gd name="connsiteY1" fmla="*/ 294 h 24652"/>
                  <a:gd name="connsiteX2" fmla="*/ 1222 w 31154"/>
                  <a:gd name="connsiteY2" fmla="*/ 14959 h 24652"/>
                  <a:gd name="connsiteX3" fmla="*/ 21517 w 31154"/>
                  <a:gd name="connsiteY3" fmla="*/ 24648 h 24652"/>
                  <a:gd name="connsiteX4" fmla="*/ 28718 w 31154"/>
                  <a:gd name="connsiteY4" fmla="*/ 9198 h 24652"/>
                  <a:gd name="connsiteX5" fmla="*/ 28718 w 31154"/>
                  <a:gd name="connsiteY5" fmla="*/ 9198 h 24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154" h="24652">
                    <a:moveTo>
                      <a:pt x="28718" y="9198"/>
                    </a:moveTo>
                    <a:cubicBezTo>
                      <a:pt x="23612" y="3698"/>
                      <a:pt x="15756" y="-1277"/>
                      <a:pt x="7900" y="294"/>
                    </a:cubicBezTo>
                    <a:cubicBezTo>
                      <a:pt x="1615" y="1473"/>
                      <a:pt x="-2051" y="9459"/>
                      <a:pt x="1222" y="14959"/>
                    </a:cubicBezTo>
                    <a:cubicBezTo>
                      <a:pt x="5281" y="21767"/>
                      <a:pt x="14053" y="24386"/>
                      <a:pt x="21517" y="24648"/>
                    </a:cubicBezTo>
                    <a:cubicBezTo>
                      <a:pt x="29503" y="24909"/>
                      <a:pt x="34348" y="15090"/>
                      <a:pt x="28718" y="9198"/>
                    </a:cubicBezTo>
                    <a:lnTo>
                      <a:pt x="28718" y="9198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ïṣļíḓê"/>
              <p:cNvSpPr/>
              <p:nvPr/>
            </p:nvSpPr>
            <p:spPr>
              <a:xfrm>
                <a:off x="6943691" y="-1536346"/>
                <a:ext cx="31357" cy="18593"/>
              </a:xfrm>
              <a:custGeom>
                <a:avLst/>
                <a:gdLst>
                  <a:gd name="connsiteX0" fmla="*/ 27377 w 31357"/>
                  <a:gd name="connsiteY0" fmla="*/ 4229 h 18593"/>
                  <a:gd name="connsiteX1" fmla="*/ 9439 w 31357"/>
                  <a:gd name="connsiteY1" fmla="*/ 40 h 18593"/>
                  <a:gd name="connsiteX2" fmla="*/ 12 w 31357"/>
                  <a:gd name="connsiteY2" fmla="*/ 8812 h 18593"/>
                  <a:gd name="connsiteX3" fmla="*/ 8784 w 31357"/>
                  <a:gd name="connsiteY3" fmla="*/ 18370 h 18593"/>
                  <a:gd name="connsiteX4" fmla="*/ 26984 w 31357"/>
                  <a:gd name="connsiteY4" fmla="*/ 15620 h 18593"/>
                  <a:gd name="connsiteX5" fmla="*/ 27377 w 31357"/>
                  <a:gd name="connsiteY5" fmla="*/ 4229 h 18593"/>
                  <a:gd name="connsiteX6" fmla="*/ 27377 w 31357"/>
                  <a:gd name="connsiteY6" fmla="*/ 4229 h 18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357" h="18593">
                    <a:moveTo>
                      <a:pt x="27377" y="4229"/>
                    </a:moveTo>
                    <a:cubicBezTo>
                      <a:pt x="21747" y="2265"/>
                      <a:pt x="15462" y="-353"/>
                      <a:pt x="9439" y="40"/>
                    </a:cubicBezTo>
                    <a:cubicBezTo>
                      <a:pt x="4464" y="432"/>
                      <a:pt x="143" y="3444"/>
                      <a:pt x="12" y="8812"/>
                    </a:cubicBezTo>
                    <a:cubicBezTo>
                      <a:pt x="-250" y="14180"/>
                      <a:pt x="3809" y="17584"/>
                      <a:pt x="8784" y="18370"/>
                    </a:cubicBezTo>
                    <a:cubicBezTo>
                      <a:pt x="14807" y="19287"/>
                      <a:pt x="21223" y="17192"/>
                      <a:pt x="26984" y="15620"/>
                    </a:cubicBezTo>
                    <a:cubicBezTo>
                      <a:pt x="32614" y="14180"/>
                      <a:pt x="32876" y="6193"/>
                      <a:pt x="27377" y="4229"/>
                    </a:cubicBezTo>
                    <a:lnTo>
                      <a:pt x="27377" y="422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îsļîdé"/>
              <p:cNvSpPr/>
              <p:nvPr/>
            </p:nvSpPr>
            <p:spPr>
              <a:xfrm>
                <a:off x="6961947" y="-1696615"/>
                <a:ext cx="20359" cy="24746"/>
              </a:xfrm>
              <a:custGeom>
                <a:avLst/>
                <a:gdLst>
                  <a:gd name="connsiteX0" fmla="*/ 19989 w 20359"/>
                  <a:gd name="connsiteY0" fmla="*/ 21389 h 24746"/>
                  <a:gd name="connsiteX1" fmla="*/ 18680 w 20359"/>
                  <a:gd name="connsiteY1" fmla="*/ 7380 h 24746"/>
                  <a:gd name="connsiteX2" fmla="*/ 7289 w 20359"/>
                  <a:gd name="connsiteY2" fmla="*/ 309 h 24746"/>
                  <a:gd name="connsiteX3" fmla="*/ 2968 w 20359"/>
                  <a:gd name="connsiteY3" fmla="*/ 2535 h 24746"/>
                  <a:gd name="connsiteX4" fmla="*/ 2444 w 20359"/>
                  <a:gd name="connsiteY4" fmla="*/ 15890 h 24746"/>
                  <a:gd name="connsiteX5" fmla="*/ 13704 w 20359"/>
                  <a:gd name="connsiteY5" fmla="*/ 24532 h 24746"/>
                  <a:gd name="connsiteX6" fmla="*/ 19989 w 20359"/>
                  <a:gd name="connsiteY6" fmla="*/ 21389 h 24746"/>
                  <a:gd name="connsiteX7" fmla="*/ 19989 w 20359"/>
                  <a:gd name="connsiteY7" fmla="*/ 21389 h 24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359" h="24746">
                    <a:moveTo>
                      <a:pt x="19989" y="21389"/>
                    </a:moveTo>
                    <a:cubicBezTo>
                      <a:pt x="20906" y="16807"/>
                      <a:pt x="19989" y="11831"/>
                      <a:pt x="18680" y="7380"/>
                    </a:cubicBezTo>
                    <a:cubicBezTo>
                      <a:pt x="17370" y="2666"/>
                      <a:pt x="12395" y="-1131"/>
                      <a:pt x="7289" y="309"/>
                    </a:cubicBezTo>
                    <a:cubicBezTo>
                      <a:pt x="5587" y="833"/>
                      <a:pt x="4408" y="1357"/>
                      <a:pt x="2968" y="2535"/>
                    </a:cubicBezTo>
                    <a:cubicBezTo>
                      <a:pt x="-829" y="5939"/>
                      <a:pt x="-960" y="12093"/>
                      <a:pt x="2444" y="15890"/>
                    </a:cubicBezTo>
                    <a:cubicBezTo>
                      <a:pt x="5587" y="19295"/>
                      <a:pt x="9253" y="22961"/>
                      <a:pt x="13704" y="24532"/>
                    </a:cubicBezTo>
                    <a:cubicBezTo>
                      <a:pt x="16061" y="25317"/>
                      <a:pt x="19465" y="23877"/>
                      <a:pt x="19989" y="21389"/>
                    </a:cubicBezTo>
                    <a:lnTo>
                      <a:pt x="19989" y="2138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ïšľiďè"/>
              <p:cNvSpPr/>
              <p:nvPr/>
            </p:nvSpPr>
            <p:spPr>
              <a:xfrm>
                <a:off x="7070743" y="-1706386"/>
                <a:ext cx="22779" cy="23652"/>
              </a:xfrm>
              <a:custGeom>
                <a:avLst/>
                <a:gdLst>
                  <a:gd name="connsiteX0" fmla="*/ 22616 w 22779"/>
                  <a:gd name="connsiteY0" fmla="*/ 17151 h 23652"/>
                  <a:gd name="connsiteX1" fmla="*/ 21699 w 22779"/>
                  <a:gd name="connsiteY1" fmla="*/ 12045 h 23652"/>
                  <a:gd name="connsiteX2" fmla="*/ 19343 w 22779"/>
                  <a:gd name="connsiteY2" fmla="*/ 5367 h 23652"/>
                  <a:gd name="connsiteX3" fmla="*/ 3238 w 22779"/>
                  <a:gd name="connsiteY3" fmla="*/ 2618 h 23652"/>
                  <a:gd name="connsiteX4" fmla="*/ 4678 w 22779"/>
                  <a:gd name="connsiteY4" fmla="*/ 18853 h 23652"/>
                  <a:gd name="connsiteX5" fmla="*/ 11094 w 22779"/>
                  <a:gd name="connsiteY5" fmla="*/ 21865 h 23652"/>
                  <a:gd name="connsiteX6" fmla="*/ 15938 w 22779"/>
                  <a:gd name="connsiteY6" fmla="*/ 23305 h 23652"/>
                  <a:gd name="connsiteX7" fmla="*/ 22616 w 22779"/>
                  <a:gd name="connsiteY7" fmla="*/ 17151 h 23652"/>
                  <a:gd name="connsiteX8" fmla="*/ 22616 w 22779"/>
                  <a:gd name="connsiteY8" fmla="*/ 17151 h 23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779" h="23652">
                    <a:moveTo>
                      <a:pt x="22616" y="17151"/>
                    </a:moveTo>
                    <a:cubicBezTo>
                      <a:pt x="22092" y="15449"/>
                      <a:pt x="22092" y="13747"/>
                      <a:pt x="21699" y="12045"/>
                    </a:cubicBezTo>
                    <a:cubicBezTo>
                      <a:pt x="21307" y="9819"/>
                      <a:pt x="20259" y="7462"/>
                      <a:pt x="19343" y="5367"/>
                    </a:cubicBezTo>
                    <a:cubicBezTo>
                      <a:pt x="16593" y="-787"/>
                      <a:pt x="7952" y="-1572"/>
                      <a:pt x="3238" y="2618"/>
                    </a:cubicBezTo>
                    <a:cubicBezTo>
                      <a:pt x="-1476" y="6938"/>
                      <a:pt x="-1083" y="15580"/>
                      <a:pt x="4678" y="18853"/>
                    </a:cubicBezTo>
                    <a:cubicBezTo>
                      <a:pt x="6511" y="19901"/>
                      <a:pt x="8868" y="21210"/>
                      <a:pt x="11094" y="21865"/>
                    </a:cubicBezTo>
                    <a:cubicBezTo>
                      <a:pt x="12796" y="22388"/>
                      <a:pt x="14367" y="22519"/>
                      <a:pt x="15938" y="23305"/>
                    </a:cubicBezTo>
                    <a:cubicBezTo>
                      <a:pt x="19473" y="24876"/>
                      <a:pt x="23663" y="20817"/>
                      <a:pt x="22616" y="17151"/>
                    </a:cubicBezTo>
                    <a:lnTo>
                      <a:pt x="22616" y="17151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iS1iďê"/>
              <p:cNvSpPr/>
              <p:nvPr/>
            </p:nvSpPr>
            <p:spPr>
              <a:xfrm>
                <a:off x="7223492" y="-1681735"/>
                <a:ext cx="28051" cy="24766"/>
              </a:xfrm>
              <a:custGeom>
                <a:avLst/>
                <a:gdLst>
                  <a:gd name="connsiteX0" fmla="*/ 27379 w 28051"/>
                  <a:gd name="connsiteY0" fmla="*/ 17769 h 24766"/>
                  <a:gd name="connsiteX1" fmla="*/ 22141 w 28051"/>
                  <a:gd name="connsiteY1" fmla="*/ 8080 h 24766"/>
                  <a:gd name="connsiteX2" fmla="*/ 6691 w 28051"/>
                  <a:gd name="connsiteY2" fmla="*/ 355 h 24766"/>
                  <a:gd name="connsiteX3" fmla="*/ 14 w 28051"/>
                  <a:gd name="connsiteY3" fmla="*/ 8473 h 24766"/>
                  <a:gd name="connsiteX4" fmla="*/ 2894 w 28051"/>
                  <a:gd name="connsiteY4" fmla="*/ 17246 h 24766"/>
                  <a:gd name="connsiteX5" fmla="*/ 11536 w 28051"/>
                  <a:gd name="connsiteY5" fmla="*/ 21959 h 24766"/>
                  <a:gd name="connsiteX6" fmla="*/ 21879 w 28051"/>
                  <a:gd name="connsiteY6" fmla="*/ 24578 h 24766"/>
                  <a:gd name="connsiteX7" fmla="*/ 27379 w 28051"/>
                  <a:gd name="connsiteY7" fmla="*/ 17769 h 24766"/>
                  <a:gd name="connsiteX8" fmla="*/ 27379 w 28051"/>
                  <a:gd name="connsiteY8" fmla="*/ 17769 h 24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051" h="24766">
                    <a:moveTo>
                      <a:pt x="27379" y="17769"/>
                    </a:moveTo>
                    <a:cubicBezTo>
                      <a:pt x="25153" y="14496"/>
                      <a:pt x="23450" y="11092"/>
                      <a:pt x="22141" y="8080"/>
                    </a:cubicBezTo>
                    <a:cubicBezTo>
                      <a:pt x="19261" y="1926"/>
                      <a:pt x="13238" y="-1085"/>
                      <a:pt x="6691" y="355"/>
                    </a:cubicBezTo>
                    <a:cubicBezTo>
                      <a:pt x="3287" y="1010"/>
                      <a:pt x="-248" y="4807"/>
                      <a:pt x="14" y="8473"/>
                    </a:cubicBezTo>
                    <a:cubicBezTo>
                      <a:pt x="144" y="11746"/>
                      <a:pt x="668" y="14627"/>
                      <a:pt x="2894" y="17246"/>
                    </a:cubicBezTo>
                    <a:cubicBezTo>
                      <a:pt x="5120" y="19864"/>
                      <a:pt x="8263" y="21435"/>
                      <a:pt x="11536" y="21959"/>
                    </a:cubicBezTo>
                    <a:cubicBezTo>
                      <a:pt x="14547" y="22483"/>
                      <a:pt x="18213" y="23268"/>
                      <a:pt x="21879" y="24578"/>
                    </a:cubicBezTo>
                    <a:cubicBezTo>
                      <a:pt x="25415" y="25756"/>
                      <a:pt x="29735" y="21173"/>
                      <a:pt x="27379" y="17769"/>
                    </a:cubicBezTo>
                    <a:lnTo>
                      <a:pt x="27379" y="1776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ïṥ1íḋê"/>
              <p:cNvSpPr/>
              <p:nvPr/>
            </p:nvSpPr>
            <p:spPr>
              <a:xfrm>
                <a:off x="7159302" y="-1726160"/>
                <a:ext cx="21794" cy="22790"/>
              </a:xfrm>
              <a:custGeom>
                <a:avLst/>
                <a:gdLst>
                  <a:gd name="connsiteX0" fmla="*/ 21389 w 21794"/>
                  <a:gd name="connsiteY0" fmla="*/ 10084 h 22790"/>
                  <a:gd name="connsiteX1" fmla="*/ 17592 w 21794"/>
                  <a:gd name="connsiteY1" fmla="*/ 3275 h 22790"/>
                  <a:gd name="connsiteX2" fmla="*/ 5285 w 21794"/>
                  <a:gd name="connsiteY2" fmla="*/ 1180 h 22790"/>
                  <a:gd name="connsiteX3" fmla="*/ 178 w 21794"/>
                  <a:gd name="connsiteY3" fmla="*/ 12440 h 22790"/>
                  <a:gd name="connsiteX4" fmla="*/ 1749 w 21794"/>
                  <a:gd name="connsiteY4" fmla="*/ 17285 h 22790"/>
                  <a:gd name="connsiteX5" fmla="*/ 14712 w 21794"/>
                  <a:gd name="connsiteY5" fmla="*/ 22129 h 22790"/>
                  <a:gd name="connsiteX6" fmla="*/ 21389 w 21794"/>
                  <a:gd name="connsiteY6" fmla="*/ 10084 h 22790"/>
                  <a:gd name="connsiteX7" fmla="*/ 21389 w 21794"/>
                  <a:gd name="connsiteY7" fmla="*/ 10084 h 22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1794" h="22790">
                    <a:moveTo>
                      <a:pt x="21389" y="10084"/>
                    </a:moveTo>
                    <a:cubicBezTo>
                      <a:pt x="20473" y="7465"/>
                      <a:pt x="19294" y="5501"/>
                      <a:pt x="17592" y="3275"/>
                    </a:cubicBezTo>
                    <a:cubicBezTo>
                      <a:pt x="14842" y="2"/>
                      <a:pt x="9081" y="-1046"/>
                      <a:pt x="5285" y="1180"/>
                    </a:cubicBezTo>
                    <a:cubicBezTo>
                      <a:pt x="1226" y="3537"/>
                      <a:pt x="-607" y="7858"/>
                      <a:pt x="178" y="12440"/>
                    </a:cubicBezTo>
                    <a:cubicBezTo>
                      <a:pt x="440" y="14142"/>
                      <a:pt x="964" y="15714"/>
                      <a:pt x="1749" y="17285"/>
                    </a:cubicBezTo>
                    <a:cubicBezTo>
                      <a:pt x="4368" y="21867"/>
                      <a:pt x="9736" y="23962"/>
                      <a:pt x="14712" y="22129"/>
                    </a:cubicBezTo>
                    <a:cubicBezTo>
                      <a:pt x="19163" y="20689"/>
                      <a:pt x="23091" y="15059"/>
                      <a:pt x="21389" y="10084"/>
                    </a:cubicBezTo>
                    <a:lnTo>
                      <a:pt x="21389" y="10084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iśľiďê"/>
              <p:cNvSpPr/>
              <p:nvPr/>
            </p:nvSpPr>
            <p:spPr>
              <a:xfrm>
                <a:off x="7458239" y="-1390511"/>
                <a:ext cx="18496" cy="19335"/>
              </a:xfrm>
              <a:custGeom>
                <a:avLst/>
                <a:gdLst>
                  <a:gd name="connsiteX0" fmla="*/ 10634 w 18496"/>
                  <a:gd name="connsiteY0" fmla="*/ 18655 h 19335"/>
                  <a:gd name="connsiteX1" fmla="*/ 12074 w 18496"/>
                  <a:gd name="connsiteY1" fmla="*/ 18132 h 19335"/>
                  <a:gd name="connsiteX2" fmla="*/ 12729 w 18496"/>
                  <a:gd name="connsiteY2" fmla="*/ 1634 h 19335"/>
                  <a:gd name="connsiteX3" fmla="*/ 11289 w 18496"/>
                  <a:gd name="connsiteY3" fmla="*/ 979 h 19335"/>
                  <a:gd name="connsiteX4" fmla="*/ 10634 w 18496"/>
                  <a:gd name="connsiteY4" fmla="*/ 18655 h 19335"/>
                  <a:gd name="connsiteX5" fmla="*/ 10634 w 18496"/>
                  <a:gd name="connsiteY5" fmla="*/ 18655 h 19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496" h="19335">
                    <a:moveTo>
                      <a:pt x="10634" y="18655"/>
                    </a:moveTo>
                    <a:cubicBezTo>
                      <a:pt x="11158" y="18524"/>
                      <a:pt x="11551" y="18262"/>
                      <a:pt x="12074" y="18132"/>
                    </a:cubicBezTo>
                    <a:cubicBezTo>
                      <a:pt x="20323" y="15120"/>
                      <a:pt x="20716" y="5300"/>
                      <a:pt x="12729" y="1634"/>
                    </a:cubicBezTo>
                    <a:cubicBezTo>
                      <a:pt x="12206" y="1372"/>
                      <a:pt x="11813" y="1241"/>
                      <a:pt x="11289" y="979"/>
                    </a:cubicBezTo>
                    <a:cubicBezTo>
                      <a:pt x="-2983" y="-5698"/>
                      <a:pt x="-4292" y="24155"/>
                      <a:pt x="10634" y="18655"/>
                    </a:cubicBezTo>
                    <a:lnTo>
                      <a:pt x="10634" y="18655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išḻïďè"/>
              <p:cNvSpPr/>
              <p:nvPr/>
            </p:nvSpPr>
            <p:spPr>
              <a:xfrm>
                <a:off x="7314239" y="-1363776"/>
                <a:ext cx="17810" cy="25059"/>
              </a:xfrm>
              <a:custGeom>
                <a:avLst/>
                <a:gdLst>
                  <a:gd name="connsiteX0" fmla="*/ 3 w 17810"/>
                  <a:gd name="connsiteY0" fmla="*/ 7371 h 25059"/>
                  <a:gd name="connsiteX1" fmla="*/ 3801 w 17810"/>
                  <a:gd name="connsiteY1" fmla="*/ 22559 h 25059"/>
                  <a:gd name="connsiteX2" fmla="*/ 10347 w 17810"/>
                  <a:gd name="connsiteY2" fmla="*/ 25047 h 25059"/>
                  <a:gd name="connsiteX3" fmla="*/ 16239 w 17810"/>
                  <a:gd name="connsiteY3" fmla="*/ 21512 h 25059"/>
                  <a:gd name="connsiteX4" fmla="*/ 17417 w 17810"/>
                  <a:gd name="connsiteY4" fmla="*/ 11823 h 25059"/>
                  <a:gd name="connsiteX5" fmla="*/ 15453 w 17810"/>
                  <a:gd name="connsiteY5" fmla="*/ 5931 h 25059"/>
                  <a:gd name="connsiteX6" fmla="*/ 7205 w 17810"/>
                  <a:gd name="connsiteY6" fmla="*/ 39 h 25059"/>
                  <a:gd name="connsiteX7" fmla="*/ 3 w 17810"/>
                  <a:gd name="connsiteY7" fmla="*/ 7371 h 25059"/>
                  <a:gd name="connsiteX8" fmla="*/ 3 w 17810"/>
                  <a:gd name="connsiteY8" fmla="*/ 7371 h 25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810" h="25059">
                    <a:moveTo>
                      <a:pt x="3" y="7371"/>
                    </a:moveTo>
                    <a:cubicBezTo>
                      <a:pt x="265" y="12347"/>
                      <a:pt x="-389" y="18893"/>
                      <a:pt x="3801" y="22559"/>
                    </a:cubicBezTo>
                    <a:cubicBezTo>
                      <a:pt x="5764" y="24261"/>
                      <a:pt x="7728" y="25178"/>
                      <a:pt x="10347" y="25047"/>
                    </a:cubicBezTo>
                    <a:cubicBezTo>
                      <a:pt x="12573" y="24785"/>
                      <a:pt x="15192" y="23607"/>
                      <a:pt x="16239" y="21512"/>
                    </a:cubicBezTo>
                    <a:cubicBezTo>
                      <a:pt x="17810" y="18370"/>
                      <a:pt x="18203" y="15227"/>
                      <a:pt x="17417" y="11823"/>
                    </a:cubicBezTo>
                    <a:cubicBezTo>
                      <a:pt x="16894" y="9859"/>
                      <a:pt x="16108" y="7895"/>
                      <a:pt x="15453" y="5931"/>
                    </a:cubicBezTo>
                    <a:cubicBezTo>
                      <a:pt x="14144" y="2265"/>
                      <a:pt x="11263" y="-354"/>
                      <a:pt x="7205" y="39"/>
                    </a:cubicBezTo>
                    <a:cubicBezTo>
                      <a:pt x="3538" y="432"/>
                      <a:pt x="-128" y="3574"/>
                      <a:pt x="3" y="7371"/>
                    </a:cubicBezTo>
                    <a:lnTo>
                      <a:pt x="3" y="7371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6" name="图形 7"/>
            <p:cNvGrpSpPr/>
            <p:nvPr/>
          </p:nvGrpSpPr>
          <p:grpSpPr>
            <a:xfrm>
              <a:off x="7599282" y="-392628"/>
              <a:ext cx="1271106" cy="1022204"/>
              <a:chOff x="7599282" y="-392628"/>
              <a:chExt cx="1271106" cy="1022204"/>
            </a:xfrm>
            <a:solidFill>
              <a:srgbClr val="009EE3"/>
            </a:solidFill>
          </p:grpSpPr>
          <p:sp>
            <p:nvSpPr>
              <p:cNvPr id="58" name="ïSļîďè"/>
              <p:cNvSpPr/>
              <p:nvPr/>
            </p:nvSpPr>
            <p:spPr>
              <a:xfrm>
                <a:off x="7599282" y="-325444"/>
                <a:ext cx="1024414" cy="955020"/>
              </a:xfrm>
              <a:custGeom>
                <a:avLst/>
                <a:gdLst>
                  <a:gd name="connsiteX0" fmla="*/ 0 w 1024414"/>
                  <a:gd name="connsiteY0" fmla="*/ 955021 h 955020"/>
                  <a:gd name="connsiteX1" fmla="*/ 176759 w 1024414"/>
                  <a:gd name="connsiteY1" fmla="*/ 908147 h 955020"/>
                  <a:gd name="connsiteX2" fmla="*/ 344483 w 1024414"/>
                  <a:gd name="connsiteY2" fmla="*/ 833253 h 955020"/>
                  <a:gd name="connsiteX3" fmla="*/ 643663 w 1024414"/>
                  <a:gd name="connsiteY3" fmla="*/ 619179 h 955020"/>
                  <a:gd name="connsiteX4" fmla="*/ 708999 w 1024414"/>
                  <a:gd name="connsiteY4" fmla="*/ 553975 h 955020"/>
                  <a:gd name="connsiteX5" fmla="*/ 739768 w 1024414"/>
                  <a:gd name="connsiteY5" fmla="*/ 519540 h 955020"/>
                  <a:gd name="connsiteX6" fmla="*/ 754956 w 1024414"/>
                  <a:gd name="connsiteY6" fmla="*/ 502256 h 955020"/>
                  <a:gd name="connsiteX7" fmla="*/ 769490 w 1024414"/>
                  <a:gd name="connsiteY7" fmla="*/ 484319 h 955020"/>
                  <a:gd name="connsiteX8" fmla="*/ 876068 w 1024414"/>
                  <a:gd name="connsiteY8" fmla="*/ 334139 h 955020"/>
                  <a:gd name="connsiteX9" fmla="*/ 1024415 w 1024414"/>
                  <a:gd name="connsiteY9" fmla="*/ 0 h 955020"/>
                  <a:gd name="connsiteX10" fmla="*/ 846085 w 1024414"/>
                  <a:gd name="connsiteY10" fmla="*/ 314500 h 955020"/>
                  <a:gd name="connsiteX11" fmla="*/ 736102 w 1024414"/>
                  <a:gd name="connsiteY11" fmla="*/ 456299 h 955020"/>
                  <a:gd name="connsiteX12" fmla="*/ 721568 w 1024414"/>
                  <a:gd name="connsiteY12" fmla="*/ 473321 h 955020"/>
                  <a:gd name="connsiteX13" fmla="*/ 706511 w 1024414"/>
                  <a:gd name="connsiteY13" fmla="*/ 489949 h 955020"/>
                  <a:gd name="connsiteX14" fmla="*/ 676135 w 1024414"/>
                  <a:gd name="connsiteY14" fmla="*/ 522813 h 955020"/>
                  <a:gd name="connsiteX15" fmla="*/ 644711 w 1024414"/>
                  <a:gd name="connsiteY15" fmla="*/ 554760 h 955020"/>
                  <a:gd name="connsiteX16" fmla="*/ 636855 w 1024414"/>
                  <a:gd name="connsiteY16" fmla="*/ 562747 h 955020"/>
                  <a:gd name="connsiteX17" fmla="*/ 628737 w 1024414"/>
                  <a:gd name="connsiteY17" fmla="*/ 570472 h 955020"/>
                  <a:gd name="connsiteX18" fmla="*/ 612371 w 1024414"/>
                  <a:gd name="connsiteY18" fmla="*/ 585791 h 955020"/>
                  <a:gd name="connsiteX19" fmla="*/ 327069 w 1024414"/>
                  <a:gd name="connsiteY19" fmla="*/ 802222 h 955020"/>
                  <a:gd name="connsiteX20" fmla="*/ 288313 w 1024414"/>
                  <a:gd name="connsiteY20" fmla="*/ 825005 h 955020"/>
                  <a:gd name="connsiteX21" fmla="*/ 248903 w 1024414"/>
                  <a:gd name="connsiteY21" fmla="*/ 846870 h 955020"/>
                  <a:gd name="connsiteX22" fmla="*/ 168379 w 1024414"/>
                  <a:gd name="connsiteY22" fmla="*/ 887590 h 955020"/>
                  <a:gd name="connsiteX23" fmla="*/ 0 w 1024414"/>
                  <a:gd name="connsiteY23" fmla="*/ 955021 h 955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024414" h="955020">
                    <a:moveTo>
                      <a:pt x="0" y="955021"/>
                    </a:moveTo>
                    <a:cubicBezTo>
                      <a:pt x="60360" y="946248"/>
                      <a:pt x="119149" y="928441"/>
                      <a:pt x="176759" y="908147"/>
                    </a:cubicBezTo>
                    <a:cubicBezTo>
                      <a:pt x="234238" y="887067"/>
                      <a:pt x="290277" y="862190"/>
                      <a:pt x="344483" y="833253"/>
                    </a:cubicBezTo>
                    <a:cubicBezTo>
                      <a:pt x="453026" y="775905"/>
                      <a:pt x="554106" y="703630"/>
                      <a:pt x="643663" y="619179"/>
                    </a:cubicBezTo>
                    <a:cubicBezTo>
                      <a:pt x="666315" y="598361"/>
                      <a:pt x="687526" y="575971"/>
                      <a:pt x="708999" y="553975"/>
                    </a:cubicBezTo>
                    <a:cubicBezTo>
                      <a:pt x="719473" y="542584"/>
                      <a:pt x="729424" y="530931"/>
                      <a:pt x="739768" y="519540"/>
                    </a:cubicBezTo>
                    <a:cubicBezTo>
                      <a:pt x="744874" y="513779"/>
                      <a:pt x="750112" y="508149"/>
                      <a:pt x="754956" y="502256"/>
                    </a:cubicBezTo>
                    <a:lnTo>
                      <a:pt x="769490" y="484319"/>
                    </a:lnTo>
                    <a:cubicBezTo>
                      <a:pt x="808769" y="436921"/>
                      <a:pt x="843728" y="386250"/>
                      <a:pt x="876068" y="334139"/>
                    </a:cubicBezTo>
                    <a:cubicBezTo>
                      <a:pt x="939963" y="229394"/>
                      <a:pt x="990503" y="116923"/>
                      <a:pt x="1024415" y="0"/>
                    </a:cubicBezTo>
                    <a:cubicBezTo>
                      <a:pt x="972565" y="110114"/>
                      <a:pt x="914039" y="215646"/>
                      <a:pt x="846085" y="314500"/>
                    </a:cubicBezTo>
                    <a:cubicBezTo>
                      <a:pt x="811126" y="363206"/>
                      <a:pt x="775643" y="411390"/>
                      <a:pt x="736102" y="456299"/>
                    </a:cubicBezTo>
                    <a:lnTo>
                      <a:pt x="721568" y="473321"/>
                    </a:lnTo>
                    <a:cubicBezTo>
                      <a:pt x="716724" y="478951"/>
                      <a:pt x="711486" y="484319"/>
                      <a:pt x="706511" y="489949"/>
                    </a:cubicBezTo>
                    <a:cubicBezTo>
                      <a:pt x="696299" y="500947"/>
                      <a:pt x="686348" y="512076"/>
                      <a:pt x="676135" y="522813"/>
                    </a:cubicBezTo>
                    <a:lnTo>
                      <a:pt x="644711" y="554760"/>
                    </a:lnTo>
                    <a:lnTo>
                      <a:pt x="636855" y="562747"/>
                    </a:lnTo>
                    <a:lnTo>
                      <a:pt x="628737" y="570472"/>
                    </a:lnTo>
                    <a:lnTo>
                      <a:pt x="612371" y="585791"/>
                    </a:lnTo>
                    <a:cubicBezTo>
                      <a:pt x="525563" y="667886"/>
                      <a:pt x="429458" y="739899"/>
                      <a:pt x="327069" y="802222"/>
                    </a:cubicBezTo>
                    <a:cubicBezTo>
                      <a:pt x="314369" y="810209"/>
                      <a:pt x="301275" y="817673"/>
                      <a:pt x="288313" y="825005"/>
                    </a:cubicBezTo>
                    <a:cubicBezTo>
                      <a:pt x="275351" y="832599"/>
                      <a:pt x="261996" y="839538"/>
                      <a:pt x="248903" y="846870"/>
                    </a:cubicBezTo>
                    <a:cubicBezTo>
                      <a:pt x="222585" y="861273"/>
                      <a:pt x="195613" y="874628"/>
                      <a:pt x="168379" y="887590"/>
                    </a:cubicBezTo>
                    <a:cubicBezTo>
                      <a:pt x="113650" y="913122"/>
                      <a:pt x="57872" y="936428"/>
                      <a:pt x="0" y="955021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ïSliďé"/>
              <p:cNvSpPr/>
              <p:nvPr/>
            </p:nvSpPr>
            <p:spPr>
              <a:xfrm>
                <a:off x="8376234" y="-20110"/>
                <a:ext cx="427101" cy="137858"/>
              </a:xfrm>
              <a:custGeom>
                <a:avLst/>
                <a:gdLst>
                  <a:gd name="connsiteX0" fmla="*/ 0 w 427101"/>
                  <a:gd name="connsiteY0" fmla="*/ 128707 h 137858"/>
                  <a:gd name="connsiteX1" fmla="*/ 115482 w 427101"/>
                  <a:gd name="connsiteY1" fmla="*/ 137348 h 137858"/>
                  <a:gd name="connsiteX2" fmla="*/ 230703 w 427101"/>
                  <a:gd name="connsiteY2" fmla="*/ 119934 h 137858"/>
                  <a:gd name="connsiteX3" fmla="*/ 258722 w 427101"/>
                  <a:gd name="connsiteY3" fmla="*/ 111554 h 137858"/>
                  <a:gd name="connsiteX4" fmla="*/ 286218 w 427101"/>
                  <a:gd name="connsiteY4" fmla="*/ 101211 h 137858"/>
                  <a:gd name="connsiteX5" fmla="*/ 338722 w 427101"/>
                  <a:gd name="connsiteY5" fmla="*/ 75155 h 137858"/>
                  <a:gd name="connsiteX6" fmla="*/ 427102 w 427101"/>
                  <a:gd name="connsiteY6" fmla="*/ 0 h 137858"/>
                  <a:gd name="connsiteX7" fmla="*/ 329950 w 427101"/>
                  <a:gd name="connsiteY7" fmla="*/ 58789 h 137858"/>
                  <a:gd name="connsiteX8" fmla="*/ 317118 w 427101"/>
                  <a:gd name="connsiteY8" fmla="*/ 64550 h 137858"/>
                  <a:gd name="connsiteX9" fmla="*/ 304287 w 427101"/>
                  <a:gd name="connsiteY9" fmla="*/ 70180 h 137858"/>
                  <a:gd name="connsiteX10" fmla="*/ 278101 w 427101"/>
                  <a:gd name="connsiteY10" fmla="*/ 80262 h 137858"/>
                  <a:gd name="connsiteX11" fmla="*/ 224549 w 427101"/>
                  <a:gd name="connsiteY11" fmla="*/ 97021 h 137858"/>
                  <a:gd name="connsiteX12" fmla="*/ 113911 w 427101"/>
                  <a:gd name="connsiteY12" fmla="*/ 119017 h 137858"/>
                  <a:gd name="connsiteX13" fmla="*/ 0 w 427101"/>
                  <a:gd name="connsiteY13" fmla="*/ 128707 h 137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27101" h="137858">
                    <a:moveTo>
                      <a:pt x="0" y="128707"/>
                    </a:moveTo>
                    <a:cubicBezTo>
                      <a:pt x="37709" y="137086"/>
                      <a:pt x="76727" y="138919"/>
                      <a:pt x="115482" y="137348"/>
                    </a:cubicBezTo>
                    <a:cubicBezTo>
                      <a:pt x="154238" y="135646"/>
                      <a:pt x="192995" y="130147"/>
                      <a:pt x="230703" y="119934"/>
                    </a:cubicBezTo>
                    <a:cubicBezTo>
                      <a:pt x="240130" y="117446"/>
                      <a:pt x="249426" y="114435"/>
                      <a:pt x="258722" y="111554"/>
                    </a:cubicBezTo>
                    <a:cubicBezTo>
                      <a:pt x="267888" y="108150"/>
                      <a:pt x="277184" y="105139"/>
                      <a:pt x="286218" y="101211"/>
                    </a:cubicBezTo>
                    <a:cubicBezTo>
                      <a:pt x="304287" y="93617"/>
                      <a:pt x="321963" y="85237"/>
                      <a:pt x="338722" y="75155"/>
                    </a:cubicBezTo>
                    <a:cubicBezTo>
                      <a:pt x="372503" y="55515"/>
                      <a:pt x="402879" y="29983"/>
                      <a:pt x="427102" y="0"/>
                    </a:cubicBezTo>
                    <a:cubicBezTo>
                      <a:pt x="396070" y="22913"/>
                      <a:pt x="363992" y="42815"/>
                      <a:pt x="329950" y="58789"/>
                    </a:cubicBezTo>
                    <a:cubicBezTo>
                      <a:pt x="325760" y="60883"/>
                      <a:pt x="321439" y="62848"/>
                      <a:pt x="317118" y="64550"/>
                    </a:cubicBezTo>
                    <a:lnTo>
                      <a:pt x="304287" y="70180"/>
                    </a:lnTo>
                    <a:cubicBezTo>
                      <a:pt x="295514" y="73584"/>
                      <a:pt x="287004" y="77250"/>
                      <a:pt x="278101" y="80262"/>
                    </a:cubicBezTo>
                    <a:cubicBezTo>
                      <a:pt x="260556" y="86677"/>
                      <a:pt x="242618" y="92307"/>
                      <a:pt x="224549" y="97021"/>
                    </a:cubicBezTo>
                    <a:cubicBezTo>
                      <a:pt x="188412" y="106841"/>
                      <a:pt x="151358" y="113911"/>
                      <a:pt x="113911" y="119017"/>
                    </a:cubicBezTo>
                    <a:cubicBezTo>
                      <a:pt x="76334" y="123862"/>
                      <a:pt x="38494" y="127135"/>
                      <a:pt x="0" y="128707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íṧḷîḍe"/>
              <p:cNvSpPr/>
              <p:nvPr/>
            </p:nvSpPr>
            <p:spPr>
              <a:xfrm>
                <a:off x="8275320" y="-230649"/>
                <a:ext cx="93188" cy="442289"/>
              </a:xfrm>
              <a:custGeom>
                <a:avLst/>
                <a:gdLst>
                  <a:gd name="connsiteX0" fmla="*/ 93189 w 93188"/>
                  <a:gd name="connsiteY0" fmla="*/ 0 h 442289"/>
                  <a:gd name="connsiteX1" fmla="*/ 37673 w 93188"/>
                  <a:gd name="connsiteY1" fmla="*/ 101603 h 442289"/>
                  <a:gd name="connsiteX2" fmla="*/ 5988 w 93188"/>
                  <a:gd name="connsiteY2" fmla="*/ 213813 h 442289"/>
                  <a:gd name="connsiteX3" fmla="*/ 2060 w 93188"/>
                  <a:gd name="connsiteY3" fmla="*/ 242880 h 442289"/>
                  <a:gd name="connsiteX4" fmla="*/ 227 w 93188"/>
                  <a:gd name="connsiteY4" fmla="*/ 272208 h 442289"/>
                  <a:gd name="connsiteX5" fmla="*/ 2321 w 93188"/>
                  <a:gd name="connsiteY5" fmla="*/ 330735 h 442289"/>
                  <a:gd name="connsiteX6" fmla="*/ 34269 w 93188"/>
                  <a:gd name="connsiteY6" fmla="*/ 442289 h 442289"/>
                  <a:gd name="connsiteX7" fmla="*/ 20914 w 93188"/>
                  <a:gd name="connsiteY7" fmla="*/ 329557 h 442289"/>
                  <a:gd name="connsiteX8" fmla="*/ 20914 w 93188"/>
                  <a:gd name="connsiteY8" fmla="*/ 315547 h 442289"/>
                  <a:gd name="connsiteX9" fmla="*/ 21045 w 93188"/>
                  <a:gd name="connsiteY9" fmla="*/ 301537 h 442289"/>
                  <a:gd name="connsiteX10" fmla="*/ 22747 w 93188"/>
                  <a:gd name="connsiteY10" fmla="*/ 273518 h 442289"/>
                  <a:gd name="connsiteX11" fmla="*/ 29556 w 93188"/>
                  <a:gd name="connsiteY11" fmla="*/ 217741 h 442289"/>
                  <a:gd name="connsiteX12" fmla="*/ 55218 w 93188"/>
                  <a:gd name="connsiteY12" fmla="*/ 107888 h 442289"/>
                  <a:gd name="connsiteX13" fmla="*/ 93189 w 93188"/>
                  <a:gd name="connsiteY13" fmla="*/ 0 h 442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3188" h="442289">
                    <a:moveTo>
                      <a:pt x="93189" y="0"/>
                    </a:moveTo>
                    <a:cubicBezTo>
                      <a:pt x="70014" y="30900"/>
                      <a:pt x="52207" y="65728"/>
                      <a:pt x="37673" y="101603"/>
                    </a:cubicBezTo>
                    <a:cubicBezTo>
                      <a:pt x="23271" y="137610"/>
                      <a:pt x="12272" y="175188"/>
                      <a:pt x="5988" y="213813"/>
                    </a:cubicBezTo>
                    <a:cubicBezTo>
                      <a:pt x="4286" y="223502"/>
                      <a:pt x="3238" y="233190"/>
                      <a:pt x="2060" y="242880"/>
                    </a:cubicBezTo>
                    <a:cubicBezTo>
                      <a:pt x="1274" y="252699"/>
                      <a:pt x="358" y="262388"/>
                      <a:pt x="227" y="272208"/>
                    </a:cubicBezTo>
                    <a:cubicBezTo>
                      <a:pt x="-297" y="291717"/>
                      <a:pt x="-35" y="311357"/>
                      <a:pt x="2321" y="330735"/>
                    </a:cubicBezTo>
                    <a:cubicBezTo>
                      <a:pt x="6380" y="369622"/>
                      <a:pt x="16986" y="407854"/>
                      <a:pt x="34269" y="442289"/>
                    </a:cubicBezTo>
                    <a:cubicBezTo>
                      <a:pt x="26282" y="404581"/>
                      <a:pt x="21307" y="367134"/>
                      <a:pt x="20914" y="329557"/>
                    </a:cubicBezTo>
                    <a:cubicBezTo>
                      <a:pt x="20783" y="324843"/>
                      <a:pt x="20783" y="320130"/>
                      <a:pt x="20914" y="315547"/>
                    </a:cubicBezTo>
                    <a:lnTo>
                      <a:pt x="21045" y="301537"/>
                    </a:lnTo>
                    <a:cubicBezTo>
                      <a:pt x="21569" y="292241"/>
                      <a:pt x="21831" y="282814"/>
                      <a:pt x="22747" y="273518"/>
                    </a:cubicBezTo>
                    <a:cubicBezTo>
                      <a:pt x="24187" y="254925"/>
                      <a:pt x="26413" y="236202"/>
                      <a:pt x="29556" y="217741"/>
                    </a:cubicBezTo>
                    <a:cubicBezTo>
                      <a:pt x="35578" y="180687"/>
                      <a:pt x="44351" y="144156"/>
                      <a:pt x="55218" y="107888"/>
                    </a:cubicBezTo>
                    <a:cubicBezTo>
                      <a:pt x="66086" y="71489"/>
                      <a:pt x="78655" y="35614"/>
                      <a:pt x="93189" y="0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ïsḷîḍê"/>
              <p:cNvSpPr/>
              <p:nvPr/>
            </p:nvSpPr>
            <p:spPr>
              <a:xfrm>
                <a:off x="8736152" y="-87424"/>
                <a:ext cx="134236" cy="134236"/>
              </a:xfrm>
              <a:custGeom>
                <a:avLst/>
                <a:gdLst>
                  <a:gd name="connsiteX0" fmla="*/ 65612 w 134236"/>
                  <a:gd name="connsiteY0" fmla="*/ 15 h 134236"/>
                  <a:gd name="connsiteX1" fmla="*/ 15 w 134236"/>
                  <a:gd name="connsiteY1" fmla="*/ 68624 h 134236"/>
                  <a:gd name="connsiteX2" fmla="*/ 68624 w 134236"/>
                  <a:gd name="connsiteY2" fmla="*/ 134221 h 134236"/>
                  <a:gd name="connsiteX3" fmla="*/ 134221 w 134236"/>
                  <a:gd name="connsiteY3" fmla="*/ 65612 h 134236"/>
                  <a:gd name="connsiteX4" fmla="*/ 65612 w 134236"/>
                  <a:gd name="connsiteY4" fmla="*/ 15 h 134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236" h="134236">
                    <a:moveTo>
                      <a:pt x="65612" y="15"/>
                    </a:moveTo>
                    <a:cubicBezTo>
                      <a:pt x="28559" y="932"/>
                      <a:pt x="-770" y="31570"/>
                      <a:pt x="15" y="68624"/>
                    </a:cubicBezTo>
                    <a:cubicBezTo>
                      <a:pt x="932" y="105678"/>
                      <a:pt x="31570" y="135007"/>
                      <a:pt x="68624" y="134221"/>
                    </a:cubicBezTo>
                    <a:cubicBezTo>
                      <a:pt x="105678" y="133304"/>
                      <a:pt x="135007" y="102666"/>
                      <a:pt x="134221" y="65612"/>
                    </a:cubicBezTo>
                    <a:cubicBezTo>
                      <a:pt x="133436" y="28559"/>
                      <a:pt x="102666" y="-770"/>
                      <a:pt x="65612" y="15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iṧ1íḋe"/>
              <p:cNvSpPr/>
              <p:nvPr/>
            </p:nvSpPr>
            <p:spPr>
              <a:xfrm>
                <a:off x="8308003" y="-269164"/>
                <a:ext cx="134236" cy="134241"/>
              </a:xfrm>
              <a:custGeom>
                <a:avLst/>
                <a:gdLst>
                  <a:gd name="connsiteX0" fmla="*/ 65613 w 134236"/>
                  <a:gd name="connsiteY0" fmla="*/ 21 h 134241"/>
                  <a:gd name="connsiteX1" fmla="*/ 15 w 134236"/>
                  <a:gd name="connsiteY1" fmla="*/ 68630 h 134241"/>
                  <a:gd name="connsiteX2" fmla="*/ 68624 w 134236"/>
                  <a:gd name="connsiteY2" fmla="*/ 134227 h 134241"/>
                  <a:gd name="connsiteX3" fmla="*/ 134221 w 134236"/>
                  <a:gd name="connsiteY3" fmla="*/ 65618 h 134241"/>
                  <a:gd name="connsiteX4" fmla="*/ 65613 w 134236"/>
                  <a:gd name="connsiteY4" fmla="*/ 21 h 134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236" h="134241">
                    <a:moveTo>
                      <a:pt x="65613" y="21"/>
                    </a:moveTo>
                    <a:cubicBezTo>
                      <a:pt x="28559" y="938"/>
                      <a:pt x="-770" y="31576"/>
                      <a:pt x="15" y="68630"/>
                    </a:cubicBezTo>
                    <a:cubicBezTo>
                      <a:pt x="932" y="105683"/>
                      <a:pt x="31570" y="135012"/>
                      <a:pt x="68624" y="134227"/>
                    </a:cubicBezTo>
                    <a:cubicBezTo>
                      <a:pt x="105678" y="133310"/>
                      <a:pt x="135007" y="102672"/>
                      <a:pt x="134221" y="65618"/>
                    </a:cubicBezTo>
                    <a:cubicBezTo>
                      <a:pt x="133304" y="28433"/>
                      <a:pt x="102666" y="-896"/>
                      <a:pt x="65613" y="21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íS1îḋê"/>
              <p:cNvSpPr/>
              <p:nvPr/>
            </p:nvSpPr>
            <p:spPr>
              <a:xfrm>
                <a:off x="8556382" y="-392628"/>
                <a:ext cx="134236" cy="134236"/>
              </a:xfrm>
              <a:custGeom>
                <a:avLst/>
                <a:gdLst>
                  <a:gd name="connsiteX0" fmla="*/ 65613 w 134236"/>
                  <a:gd name="connsiteY0" fmla="*/ 15 h 134236"/>
                  <a:gd name="connsiteX1" fmla="*/ 15 w 134236"/>
                  <a:gd name="connsiteY1" fmla="*/ 68624 h 134236"/>
                  <a:gd name="connsiteX2" fmla="*/ 68624 w 134236"/>
                  <a:gd name="connsiteY2" fmla="*/ 134221 h 134236"/>
                  <a:gd name="connsiteX3" fmla="*/ 134221 w 134236"/>
                  <a:gd name="connsiteY3" fmla="*/ 65612 h 134236"/>
                  <a:gd name="connsiteX4" fmla="*/ 65613 w 134236"/>
                  <a:gd name="connsiteY4" fmla="*/ 15 h 134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236" h="134236">
                    <a:moveTo>
                      <a:pt x="65613" y="15"/>
                    </a:moveTo>
                    <a:cubicBezTo>
                      <a:pt x="28559" y="932"/>
                      <a:pt x="-770" y="31570"/>
                      <a:pt x="15" y="68624"/>
                    </a:cubicBezTo>
                    <a:cubicBezTo>
                      <a:pt x="932" y="105678"/>
                      <a:pt x="31570" y="135007"/>
                      <a:pt x="68624" y="134221"/>
                    </a:cubicBezTo>
                    <a:cubicBezTo>
                      <a:pt x="105678" y="133304"/>
                      <a:pt x="135007" y="102666"/>
                      <a:pt x="134221" y="65612"/>
                    </a:cubicBezTo>
                    <a:cubicBezTo>
                      <a:pt x="133436" y="28559"/>
                      <a:pt x="102666" y="-770"/>
                      <a:pt x="65613" y="15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7" name="图形 7"/>
            <p:cNvGrpSpPr/>
            <p:nvPr/>
          </p:nvGrpSpPr>
          <p:grpSpPr>
            <a:xfrm>
              <a:off x="6231399" y="263194"/>
              <a:ext cx="2494293" cy="2207813"/>
              <a:chOff x="6231399" y="263194"/>
              <a:chExt cx="2494293" cy="2207813"/>
            </a:xfrm>
            <a:solidFill>
              <a:schemeClr val="accent1"/>
            </a:solidFill>
          </p:grpSpPr>
          <p:grpSp>
            <p:nvGrpSpPr>
              <p:cNvPr id="53" name="图形 7"/>
              <p:cNvGrpSpPr/>
              <p:nvPr/>
            </p:nvGrpSpPr>
            <p:grpSpPr>
              <a:xfrm>
                <a:off x="6231399" y="263194"/>
                <a:ext cx="2494293" cy="2207813"/>
                <a:chOff x="6231399" y="263194"/>
                <a:chExt cx="2494293" cy="2207813"/>
              </a:xfrm>
              <a:solidFill>
                <a:schemeClr val="accent1"/>
              </a:solidFill>
            </p:grpSpPr>
            <p:sp>
              <p:nvSpPr>
                <p:cNvPr id="56" name="íṡļîḓè"/>
                <p:cNvSpPr/>
                <p:nvPr/>
              </p:nvSpPr>
              <p:spPr>
                <a:xfrm>
                  <a:off x="6231399" y="263194"/>
                  <a:ext cx="2494293" cy="2207813"/>
                </a:xfrm>
                <a:custGeom>
                  <a:avLst/>
                  <a:gdLst>
                    <a:gd name="connsiteX0" fmla="*/ 2295277 w 2494293"/>
                    <a:gd name="connsiteY0" fmla="*/ 199050 h 2207813"/>
                    <a:gd name="connsiteX1" fmla="*/ 2295277 w 2494293"/>
                    <a:gd name="connsiteY1" fmla="*/ 199050 h 2207813"/>
                    <a:gd name="connsiteX2" fmla="*/ 1334364 w 2494293"/>
                    <a:gd name="connsiteY2" fmla="*/ 199050 h 2207813"/>
                    <a:gd name="connsiteX3" fmla="*/ 1247163 w 2494293"/>
                    <a:gd name="connsiteY3" fmla="*/ 286251 h 2207813"/>
                    <a:gd name="connsiteX4" fmla="*/ 1159962 w 2494293"/>
                    <a:gd name="connsiteY4" fmla="*/ 199050 h 2207813"/>
                    <a:gd name="connsiteX5" fmla="*/ 199050 w 2494293"/>
                    <a:gd name="connsiteY5" fmla="*/ 199050 h 2207813"/>
                    <a:gd name="connsiteX6" fmla="*/ 199050 w 2494293"/>
                    <a:gd name="connsiteY6" fmla="*/ 199050 h 2207813"/>
                    <a:gd name="connsiteX7" fmla="*/ 199050 w 2494293"/>
                    <a:gd name="connsiteY7" fmla="*/ 1159963 h 2207813"/>
                    <a:gd name="connsiteX8" fmla="*/ 1246901 w 2494293"/>
                    <a:gd name="connsiteY8" fmla="*/ 2207814 h 2207813"/>
                    <a:gd name="connsiteX9" fmla="*/ 1247033 w 2494293"/>
                    <a:gd name="connsiteY9" fmla="*/ 2207683 h 2207813"/>
                    <a:gd name="connsiteX10" fmla="*/ 1247163 w 2494293"/>
                    <a:gd name="connsiteY10" fmla="*/ 2207814 h 2207813"/>
                    <a:gd name="connsiteX11" fmla="*/ 2295015 w 2494293"/>
                    <a:gd name="connsiteY11" fmla="*/ 1159963 h 2207813"/>
                    <a:gd name="connsiteX12" fmla="*/ 2295277 w 2494293"/>
                    <a:gd name="connsiteY12" fmla="*/ 199050 h 2207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494293" h="2207813">
                      <a:moveTo>
                        <a:pt x="2295277" y="199050"/>
                      </a:moveTo>
                      <a:lnTo>
                        <a:pt x="2295277" y="199050"/>
                      </a:lnTo>
                      <a:cubicBezTo>
                        <a:pt x="2029877" y="-66350"/>
                        <a:pt x="1599764" y="-66350"/>
                        <a:pt x="1334364" y="199050"/>
                      </a:cubicBezTo>
                      <a:lnTo>
                        <a:pt x="1247163" y="286251"/>
                      </a:lnTo>
                      <a:lnTo>
                        <a:pt x="1159962" y="199050"/>
                      </a:lnTo>
                      <a:cubicBezTo>
                        <a:pt x="894562" y="-66350"/>
                        <a:pt x="464450" y="-66350"/>
                        <a:pt x="199050" y="199050"/>
                      </a:cubicBezTo>
                      <a:lnTo>
                        <a:pt x="199050" y="199050"/>
                      </a:lnTo>
                      <a:cubicBezTo>
                        <a:pt x="-66350" y="464450"/>
                        <a:pt x="-66350" y="894562"/>
                        <a:pt x="199050" y="1159963"/>
                      </a:cubicBezTo>
                      <a:lnTo>
                        <a:pt x="1246901" y="2207814"/>
                      </a:lnTo>
                      <a:lnTo>
                        <a:pt x="1247033" y="2207683"/>
                      </a:lnTo>
                      <a:lnTo>
                        <a:pt x="1247163" y="2207814"/>
                      </a:lnTo>
                      <a:lnTo>
                        <a:pt x="2295015" y="1159963"/>
                      </a:lnTo>
                      <a:cubicBezTo>
                        <a:pt x="2560677" y="894562"/>
                        <a:pt x="2560677" y="464319"/>
                        <a:pt x="2295277" y="199050"/>
                      </a:cubicBezTo>
                      <a:close/>
                    </a:path>
                  </a:pathLst>
                </a:custGeom>
                <a:solidFill>
                  <a:srgbClr val="EF4A50"/>
                </a:solidFill>
                <a:ln w="130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7" name="îSľïḑe"/>
                <p:cNvSpPr/>
                <p:nvPr/>
              </p:nvSpPr>
              <p:spPr>
                <a:xfrm>
                  <a:off x="7087205" y="883846"/>
                  <a:ext cx="782975" cy="783106"/>
                </a:xfrm>
                <a:custGeom>
                  <a:avLst/>
                  <a:gdLst>
                    <a:gd name="connsiteX0" fmla="*/ 782975 w 782975"/>
                    <a:gd name="connsiteY0" fmla="*/ 270637 h 783106"/>
                    <a:gd name="connsiteX1" fmla="*/ 512338 w 782975"/>
                    <a:gd name="connsiteY1" fmla="*/ 270637 h 783106"/>
                    <a:gd name="connsiteX2" fmla="*/ 512338 w 782975"/>
                    <a:gd name="connsiteY2" fmla="*/ 0 h 783106"/>
                    <a:gd name="connsiteX3" fmla="*/ 270637 w 782975"/>
                    <a:gd name="connsiteY3" fmla="*/ 0 h 783106"/>
                    <a:gd name="connsiteX4" fmla="*/ 270637 w 782975"/>
                    <a:gd name="connsiteY4" fmla="*/ 270637 h 783106"/>
                    <a:gd name="connsiteX5" fmla="*/ 0 w 782975"/>
                    <a:gd name="connsiteY5" fmla="*/ 270637 h 783106"/>
                    <a:gd name="connsiteX6" fmla="*/ 0 w 782975"/>
                    <a:gd name="connsiteY6" fmla="*/ 512469 h 783106"/>
                    <a:gd name="connsiteX7" fmla="*/ 270637 w 782975"/>
                    <a:gd name="connsiteY7" fmla="*/ 512469 h 783106"/>
                    <a:gd name="connsiteX8" fmla="*/ 270637 w 782975"/>
                    <a:gd name="connsiteY8" fmla="*/ 783106 h 783106"/>
                    <a:gd name="connsiteX9" fmla="*/ 512338 w 782975"/>
                    <a:gd name="connsiteY9" fmla="*/ 783106 h 783106"/>
                    <a:gd name="connsiteX10" fmla="*/ 512338 w 782975"/>
                    <a:gd name="connsiteY10" fmla="*/ 512469 h 783106"/>
                    <a:gd name="connsiteX11" fmla="*/ 782975 w 782975"/>
                    <a:gd name="connsiteY11" fmla="*/ 512469 h 7831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782975" h="783106">
                      <a:moveTo>
                        <a:pt x="782975" y="270637"/>
                      </a:moveTo>
                      <a:lnTo>
                        <a:pt x="512338" y="270637"/>
                      </a:lnTo>
                      <a:lnTo>
                        <a:pt x="512338" y="0"/>
                      </a:lnTo>
                      <a:lnTo>
                        <a:pt x="270637" y="0"/>
                      </a:lnTo>
                      <a:lnTo>
                        <a:pt x="270637" y="270637"/>
                      </a:lnTo>
                      <a:lnTo>
                        <a:pt x="0" y="270637"/>
                      </a:lnTo>
                      <a:lnTo>
                        <a:pt x="0" y="512469"/>
                      </a:lnTo>
                      <a:lnTo>
                        <a:pt x="270637" y="512469"/>
                      </a:lnTo>
                      <a:lnTo>
                        <a:pt x="270637" y="783106"/>
                      </a:lnTo>
                      <a:lnTo>
                        <a:pt x="512338" y="783106"/>
                      </a:lnTo>
                      <a:lnTo>
                        <a:pt x="512338" y="512469"/>
                      </a:lnTo>
                      <a:lnTo>
                        <a:pt x="782975" y="51246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3086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4" name="iṡľîdê"/>
              <p:cNvSpPr/>
              <p:nvPr/>
            </p:nvSpPr>
            <p:spPr>
              <a:xfrm>
                <a:off x="6430006" y="358819"/>
                <a:ext cx="557159" cy="550932"/>
              </a:xfrm>
              <a:custGeom>
                <a:avLst/>
                <a:gdLst>
                  <a:gd name="connsiteX0" fmla="*/ 311669 w 557159"/>
                  <a:gd name="connsiteY0" fmla="*/ 230298 h 550932"/>
                  <a:gd name="connsiteX1" fmla="*/ 320703 w 557159"/>
                  <a:gd name="connsiteY1" fmla="*/ 224668 h 550932"/>
                  <a:gd name="connsiteX2" fmla="*/ 548394 w 557159"/>
                  <a:gd name="connsiteY2" fmla="*/ 39006 h 550932"/>
                  <a:gd name="connsiteX3" fmla="*/ 227217 w 557159"/>
                  <a:gd name="connsiteY3" fmla="*/ 93997 h 550932"/>
                  <a:gd name="connsiteX4" fmla="*/ 5287 w 557159"/>
                  <a:gd name="connsiteY4" fmla="*/ 426958 h 550932"/>
                  <a:gd name="connsiteX5" fmla="*/ 147480 w 557159"/>
                  <a:gd name="connsiteY5" fmla="*/ 476320 h 550932"/>
                  <a:gd name="connsiteX6" fmla="*/ 311669 w 557159"/>
                  <a:gd name="connsiteY6" fmla="*/ 230298 h 550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57159" h="550932">
                    <a:moveTo>
                      <a:pt x="311669" y="230298"/>
                    </a:moveTo>
                    <a:cubicBezTo>
                      <a:pt x="314680" y="228334"/>
                      <a:pt x="317561" y="226501"/>
                      <a:pt x="320703" y="224668"/>
                    </a:cubicBezTo>
                    <a:cubicBezTo>
                      <a:pt x="379885" y="189316"/>
                      <a:pt x="603910" y="148989"/>
                      <a:pt x="548394" y="39006"/>
                    </a:cubicBezTo>
                    <a:cubicBezTo>
                      <a:pt x="498771" y="-59455"/>
                      <a:pt x="283780" y="54849"/>
                      <a:pt x="227217" y="93997"/>
                    </a:cubicBezTo>
                    <a:cubicBezTo>
                      <a:pt x="113699" y="172557"/>
                      <a:pt x="38937" y="294193"/>
                      <a:pt x="5287" y="426958"/>
                    </a:cubicBezTo>
                    <a:cubicBezTo>
                      <a:pt x="-28755" y="561164"/>
                      <a:pt x="111342" y="599527"/>
                      <a:pt x="147480" y="476320"/>
                    </a:cubicBezTo>
                    <a:cubicBezTo>
                      <a:pt x="175106" y="382048"/>
                      <a:pt x="225123" y="286337"/>
                      <a:pt x="311669" y="230298"/>
                    </a:cubicBezTo>
                    <a:close/>
                  </a:path>
                </a:pathLst>
              </a:custGeom>
              <a:solidFill>
                <a:srgbClr val="FFFFFF">
                  <a:alpha val="30000"/>
                </a:srgbClr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îSļîḍe"/>
              <p:cNvSpPr/>
              <p:nvPr/>
            </p:nvSpPr>
            <p:spPr>
              <a:xfrm>
                <a:off x="6359483" y="975499"/>
                <a:ext cx="172830" cy="172830"/>
              </a:xfrm>
              <a:custGeom>
                <a:avLst/>
                <a:gdLst>
                  <a:gd name="connsiteX0" fmla="*/ 172831 w 172830"/>
                  <a:gd name="connsiteY0" fmla="*/ 86415 h 172830"/>
                  <a:gd name="connsiteX1" fmla="*/ 86415 w 172830"/>
                  <a:gd name="connsiteY1" fmla="*/ 172831 h 172830"/>
                  <a:gd name="connsiteX2" fmla="*/ 0 w 172830"/>
                  <a:gd name="connsiteY2" fmla="*/ 86415 h 172830"/>
                  <a:gd name="connsiteX3" fmla="*/ 86415 w 172830"/>
                  <a:gd name="connsiteY3" fmla="*/ 0 h 172830"/>
                  <a:gd name="connsiteX4" fmla="*/ 172831 w 172830"/>
                  <a:gd name="connsiteY4" fmla="*/ 86415 h 172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2830" h="172830">
                    <a:moveTo>
                      <a:pt x="172831" y="86415"/>
                    </a:moveTo>
                    <a:cubicBezTo>
                      <a:pt x="172831" y="134141"/>
                      <a:pt x="134141" y="172831"/>
                      <a:pt x="86415" y="172831"/>
                    </a:cubicBezTo>
                    <a:cubicBezTo>
                      <a:pt x="38689" y="172831"/>
                      <a:pt x="0" y="134141"/>
                      <a:pt x="0" y="86415"/>
                    </a:cubicBezTo>
                    <a:cubicBezTo>
                      <a:pt x="0" y="38689"/>
                      <a:pt x="38689" y="0"/>
                      <a:pt x="86415" y="0"/>
                    </a:cubicBezTo>
                    <a:cubicBezTo>
                      <a:pt x="134141" y="0"/>
                      <a:pt x="172831" y="38689"/>
                      <a:pt x="172831" y="86415"/>
                    </a:cubicBezTo>
                    <a:close/>
                  </a:path>
                </a:pathLst>
              </a:custGeom>
              <a:solidFill>
                <a:srgbClr val="FFFFFF">
                  <a:alpha val="30000"/>
                </a:srgbClr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8" name="图形 7"/>
            <p:cNvGrpSpPr/>
            <p:nvPr/>
          </p:nvGrpSpPr>
          <p:grpSpPr>
            <a:xfrm>
              <a:off x="7670884" y="1541630"/>
              <a:ext cx="1319631" cy="736915"/>
              <a:chOff x="7670884" y="1541630"/>
              <a:chExt cx="1319631" cy="736915"/>
            </a:xfrm>
            <a:solidFill>
              <a:srgbClr val="FFFFFF"/>
            </a:solidFill>
          </p:grpSpPr>
          <p:sp>
            <p:nvSpPr>
              <p:cNvPr id="29" name="íśḷiḓê"/>
              <p:cNvSpPr/>
              <p:nvPr/>
            </p:nvSpPr>
            <p:spPr>
              <a:xfrm>
                <a:off x="8346882" y="1923437"/>
                <a:ext cx="70692" cy="38680"/>
              </a:xfrm>
              <a:custGeom>
                <a:avLst/>
                <a:gdLst>
                  <a:gd name="connsiteX0" fmla="*/ 14818 w 70692"/>
                  <a:gd name="connsiteY0" fmla="*/ 37851 h 38680"/>
                  <a:gd name="connsiteX1" fmla="*/ 34720 w 70692"/>
                  <a:gd name="connsiteY1" fmla="*/ 38636 h 38680"/>
                  <a:gd name="connsiteX2" fmla="*/ 56847 w 70692"/>
                  <a:gd name="connsiteY2" fmla="*/ 37065 h 38680"/>
                  <a:gd name="connsiteX3" fmla="*/ 53312 w 70692"/>
                  <a:gd name="connsiteY3" fmla="*/ 273 h 38680"/>
                  <a:gd name="connsiteX4" fmla="*/ 31185 w 70692"/>
                  <a:gd name="connsiteY4" fmla="*/ 2499 h 38680"/>
                  <a:gd name="connsiteX5" fmla="*/ 11676 w 70692"/>
                  <a:gd name="connsiteY5" fmla="*/ 6558 h 38680"/>
                  <a:gd name="connsiteX6" fmla="*/ 14818 w 70692"/>
                  <a:gd name="connsiteY6" fmla="*/ 37851 h 38680"/>
                  <a:gd name="connsiteX7" fmla="*/ 14818 w 70692"/>
                  <a:gd name="connsiteY7" fmla="*/ 37851 h 38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0692" h="38680">
                    <a:moveTo>
                      <a:pt x="14818" y="37851"/>
                    </a:moveTo>
                    <a:cubicBezTo>
                      <a:pt x="21496" y="38636"/>
                      <a:pt x="28043" y="38768"/>
                      <a:pt x="34720" y="38636"/>
                    </a:cubicBezTo>
                    <a:cubicBezTo>
                      <a:pt x="42052" y="38506"/>
                      <a:pt x="49908" y="39291"/>
                      <a:pt x="56847" y="37065"/>
                    </a:cubicBezTo>
                    <a:cubicBezTo>
                      <a:pt x="77273" y="30519"/>
                      <a:pt x="74262" y="3285"/>
                      <a:pt x="53312" y="273"/>
                    </a:cubicBezTo>
                    <a:cubicBezTo>
                      <a:pt x="46242" y="-774"/>
                      <a:pt x="38386" y="1452"/>
                      <a:pt x="31185" y="2499"/>
                    </a:cubicBezTo>
                    <a:cubicBezTo>
                      <a:pt x="24507" y="3547"/>
                      <a:pt x="18092" y="4725"/>
                      <a:pt x="11676" y="6558"/>
                    </a:cubicBezTo>
                    <a:cubicBezTo>
                      <a:pt x="-5607" y="11664"/>
                      <a:pt x="-2989" y="35756"/>
                      <a:pt x="14818" y="37851"/>
                    </a:cubicBezTo>
                    <a:lnTo>
                      <a:pt x="14818" y="37851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" name="íšļïḋe"/>
              <p:cNvSpPr/>
              <p:nvPr/>
            </p:nvSpPr>
            <p:spPr>
              <a:xfrm>
                <a:off x="8500013" y="2023205"/>
                <a:ext cx="51685" cy="38957"/>
              </a:xfrm>
              <a:custGeom>
                <a:avLst/>
                <a:gdLst>
                  <a:gd name="connsiteX0" fmla="*/ 7023 w 51685"/>
                  <a:gd name="connsiteY0" fmla="*/ 29474 h 38957"/>
                  <a:gd name="connsiteX1" fmla="*/ 32424 w 51685"/>
                  <a:gd name="connsiteY1" fmla="*/ 38901 h 38957"/>
                  <a:gd name="connsiteX2" fmla="*/ 51409 w 51685"/>
                  <a:gd name="connsiteY2" fmla="*/ 23451 h 38957"/>
                  <a:gd name="connsiteX3" fmla="*/ 38839 w 51685"/>
                  <a:gd name="connsiteY3" fmla="*/ 2501 h 38957"/>
                  <a:gd name="connsiteX4" fmla="*/ 11867 w 51685"/>
                  <a:gd name="connsiteY4" fmla="*/ 1323 h 38957"/>
                  <a:gd name="connsiteX5" fmla="*/ 214 w 51685"/>
                  <a:gd name="connsiteY5" fmla="*/ 13761 h 38957"/>
                  <a:gd name="connsiteX6" fmla="*/ 7023 w 51685"/>
                  <a:gd name="connsiteY6" fmla="*/ 29474 h 38957"/>
                  <a:gd name="connsiteX7" fmla="*/ 7023 w 51685"/>
                  <a:gd name="connsiteY7" fmla="*/ 29474 h 38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685" h="38957">
                    <a:moveTo>
                      <a:pt x="7023" y="29474"/>
                    </a:moveTo>
                    <a:cubicBezTo>
                      <a:pt x="13569" y="34711"/>
                      <a:pt x="24175" y="38246"/>
                      <a:pt x="32424" y="38901"/>
                    </a:cubicBezTo>
                    <a:cubicBezTo>
                      <a:pt x="41720" y="39686"/>
                      <a:pt x="49837" y="32223"/>
                      <a:pt x="51409" y="23451"/>
                    </a:cubicBezTo>
                    <a:cubicBezTo>
                      <a:pt x="52980" y="14154"/>
                      <a:pt x="47742" y="5644"/>
                      <a:pt x="38839" y="2501"/>
                    </a:cubicBezTo>
                    <a:cubicBezTo>
                      <a:pt x="30983" y="-379"/>
                      <a:pt x="19854" y="-772"/>
                      <a:pt x="11867" y="1323"/>
                    </a:cubicBezTo>
                    <a:cubicBezTo>
                      <a:pt x="5844" y="2894"/>
                      <a:pt x="1262" y="7608"/>
                      <a:pt x="214" y="13761"/>
                    </a:cubicBezTo>
                    <a:cubicBezTo>
                      <a:pt x="-833" y="20177"/>
                      <a:pt x="2047" y="25415"/>
                      <a:pt x="7023" y="29474"/>
                    </a:cubicBezTo>
                    <a:lnTo>
                      <a:pt x="7023" y="29474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" name="î$ľîdè"/>
              <p:cNvSpPr/>
              <p:nvPr/>
            </p:nvSpPr>
            <p:spPr>
              <a:xfrm>
                <a:off x="8533198" y="1931604"/>
                <a:ext cx="59823" cy="36504"/>
              </a:xfrm>
              <a:custGeom>
                <a:avLst/>
                <a:gdLst>
                  <a:gd name="connsiteX0" fmla="*/ 13903 w 59823"/>
                  <a:gd name="connsiteY0" fmla="*/ 36231 h 36504"/>
                  <a:gd name="connsiteX1" fmla="*/ 28829 w 59823"/>
                  <a:gd name="connsiteY1" fmla="*/ 36362 h 36504"/>
                  <a:gd name="connsiteX2" fmla="*/ 46374 w 59823"/>
                  <a:gd name="connsiteY2" fmla="*/ 34922 h 36504"/>
                  <a:gd name="connsiteX3" fmla="*/ 59730 w 59823"/>
                  <a:gd name="connsiteY3" fmla="*/ 16068 h 36504"/>
                  <a:gd name="connsiteX4" fmla="*/ 43101 w 59823"/>
                  <a:gd name="connsiteY4" fmla="*/ 94 h 36504"/>
                  <a:gd name="connsiteX5" fmla="*/ 11023 w 59823"/>
                  <a:gd name="connsiteY5" fmla="*/ 6640 h 36504"/>
                  <a:gd name="connsiteX6" fmla="*/ 13903 w 59823"/>
                  <a:gd name="connsiteY6" fmla="*/ 36231 h 36504"/>
                  <a:gd name="connsiteX7" fmla="*/ 13903 w 59823"/>
                  <a:gd name="connsiteY7" fmla="*/ 36231 h 36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823" h="36504">
                    <a:moveTo>
                      <a:pt x="13903" y="36231"/>
                    </a:moveTo>
                    <a:cubicBezTo>
                      <a:pt x="18879" y="36493"/>
                      <a:pt x="23854" y="36624"/>
                      <a:pt x="28829" y="36362"/>
                    </a:cubicBezTo>
                    <a:cubicBezTo>
                      <a:pt x="34590" y="36231"/>
                      <a:pt x="41006" y="36624"/>
                      <a:pt x="46374" y="34922"/>
                    </a:cubicBezTo>
                    <a:cubicBezTo>
                      <a:pt x="54754" y="32172"/>
                      <a:pt x="60646" y="25364"/>
                      <a:pt x="59730" y="16068"/>
                    </a:cubicBezTo>
                    <a:cubicBezTo>
                      <a:pt x="58944" y="7295"/>
                      <a:pt x="51874" y="748"/>
                      <a:pt x="43101" y="94"/>
                    </a:cubicBezTo>
                    <a:cubicBezTo>
                      <a:pt x="32758" y="-692"/>
                      <a:pt x="20843" y="3629"/>
                      <a:pt x="11023" y="6640"/>
                    </a:cubicBezTo>
                    <a:cubicBezTo>
                      <a:pt x="-4558" y="11485"/>
                      <a:pt x="-3642" y="35445"/>
                      <a:pt x="13903" y="36231"/>
                    </a:cubicBezTo>
                    <a:lnTo>
                      <a:pt x="13903" y="36231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" name="í$liḋê"/>
              <p:cNvSpPr/>
              <p:nvPr/>
            </p:nvSpPr>
            <p:spPr>
              <a:xfrm>
                <a:off x="8351754" y="1774657"/>
                <a:ext cx="47148" cy="36634"/>
              </a:xfrm>
              <a:custGeom>
                <a:avLst/>
                <a:gdLst>
                  <a:gd name="connsiteX0" fmla="*/ 5495 w 47148"/>
                  <a:gd name="connsiteY0" fmla="*/ 27941 h 36634"/>
                  <a:gd name="connsiteX1" fmla="*/ 23433 w 47148"/>
                  <a:gd name="connsiteY1" fmla="*/ 35666 h 36634"/>
                  <a:gd name="connsiteX2" fmla="*/ 47132 w 47148"/>
                  <a:gd name="connsiteY2" fmla="*/ 19038 h 36634"/>
                  <a:gd name="connsiteX3" fmla="*/ 24873 w 47148"/>
                  <a:gd name="connsiteY3" fmla="*/ 576 h 36634"/>
                  <a:gd name="connsiteX4" fmla="*/ 6412 w 47148"/>
                  <a:gd name="connsiteY4" fmla="*/ 6861 h 36634"/>
                  <a:gd name="connsiteX5" fmla="*/ 5495 w 47148"/>
                  <a:gd name="connsiteY5" fmla="*/ 27941 h 36634"/>
                  <a:gd name="connsiteX6" fmla="*/ 5495 w 47148"/>
                  <a:gd name="connsiteY6" fmla="*/ 27941 h 36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148" h="36634">
                    <a:moveTo>
                      <a:pt x="5495" y="27941"/>
                    </a:moveTo>
                    <a:cubicBezTo>
                      <a:pt x="11125" y="31345"/>
                      <a:pt x="17279" y="33440"/>
                      <a:pt x="23433" y="35666"/>
                    </a:cubicBezTo>
                    <a:cubicBezTo>
                      <a:pt x="34562" y="39725"/>
                      <a:pt x="46608" y="30429"/>
                      <a:pt x="47132" y="19038"/>
                    </a:cubicBezTo>
                    <a:cubicBezTo>
                      <a:pt x="47655" y="7647"/>
                      <a:pt x="36264" y="-2566"/>
                      <a:pt x="24873" y="576"/>
                    </a:cubicBezTo>
                    <a:cubicBezTo>
                      <a:pt x="18588" y="2278"/>
                      <a:pt x="12303" y="3849"/>
                      <a:pt x="6412" y="6861"/>
                    </a:cubicBezTo>
                    <a:cubicBezTo>
                      <a:pt x="-1706" y="10920"/>
                      <a:pt x="-2230" y="23228"/>
                      <a:pt x="5495" y="27941"/>
                    </a:cubicBezTo>
                    <a:lnTo>
                      <a:pt x="5495" y="27941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" name="îŝḻíďe"/>
              <p:cNvSpPr/>
              <p:nvPr/>
            </p:nvSpPr>
            <p:spPr>
              <a:xfrm>
                <a:off x="8148191" y="1838787"/>
                <a:ext cx="46765" cy="43807"/>
              </a:xfrm>
              <a:custGeom>
                <a:avLst/>
                <a:gdLst>
                  <a:gd name="connsiteX0" fmla="*/ 352 w 46765"/>
                  <a:gd name="connsiteY0" fmla="*/ 11732 h 43807"/>
                  <a:gd name="connsiteX1" fmla="*/ 1923 w 46765"/>
                  <a:gd name="connsiteY1" fmla="*/ 18279 h 43807"/>
                  <a:gd name="connsiteX2" fmla="*/ 7815 w 46765"/>
                  <a:gd name="connsiteY2" fmla="*/ 28884 h 43807"/>
                  <a:gd name="connsiteX3" fmla="*/ 24312 w 46765"/>
                  <a:gd name="connsiteY3" fmla="*/ 42763 h 43807"/>
                  <a:gd name="connsiteX4" fmla="*/ 44738 w 46765"/>
                  <a:gd name="connsiteY4" fmla="*/ 18410 h 43807"/>
                  <a:gd name="connsiteX5" fmla="*/ 28371 w 46765"/>
                  <a:gd name="connsiteY5" fmla="*/ 4531 h 43807"/>
                  <a:gd name="connsiteX6" fmla="*/ 17504 w 46765"/>
                  <a:gd name="connsiteY6" fmla="*/ 603 h 43807"/>
                  <a:gd name="connsiteX7" fmla="*/ 12921 w 46765"/>
                  <a:gd name="connsiteY7" fmla="*/ 472 h 43807"/>
                  <a:gd name="connsiteX8" fmla="*/ 10303 w 46765"/>
                  <a:gd name="connsiteY8" fmla="*/ 80 h 43807"/>
                  <a:gd name="connsiteX9" fmla="*/ 352 w 46765"/>
                  <a:gd name="connsiteY9" fmla="*/ 11732 h 43807"/>
                  <a:gd name="connsiteX10" fmla="*/ 352 w 46765"/>
                  <a:gd name="connsiteY10" fmla="*/ 11732 h 43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6765" h="43807">
                    <a:moveTo>
                      <a:pt x="352" y="11732"/>
                    </a:moveTo>
                    <a:cubicBezTo>
                      <a:pt x="876" y="13566"/>
                      <a:pt x="1137" y="15660"/>
                      <a:pt x="1923" y="18279"/>
                    </a:cubicBezTo>
                    <a:cubicBezTo>
                      <a:pt x="3101" y="22469"/>
                      <a:pt x="5196" y="25349"/>
                      <a:pt x="7815" y="28884"/>
                    </a:cubicBezTo>
                    <a:cubicBezTo>
                      <a:pt x="12528" y="35038"/>
                      <a:pt x="16849" y="39883"/>
                      <a:pt x="24312" y="42763"/>
                    </a:cubicBezTo>
                    <a:cubicBezTo>
                      <a:pt x="38191" y="48263"/>
                      <a:pt x="52070" y="30848"/>
                      <a:pt x="44738" y="18410"/>
                    </a:cubicBezTo>
                    <a:cubicBezTo>
                      <a:pt x="40679" y="11601"/>
                      <a:pt x="35180" y="8066"/>
                      <a:pt x="28371" y="4531"/>
                    </a:cubicBezTo>
                    <a:cubicBezTo>
                      <a:pt x="24836" y="2698"/>
                      <a:pt x="21563" y="1127"/>
                      <a:pt x="17504" y="603"/>
                    </a:cubicBezTo>
                    <a:cubicBezTo>
                      <a:pt x="15933" y="341"/>
                      <a:pt x="14362" y="472"/>
                      <a:pt x="12921" y="472"/>
                    </a:cubicBezTo>
                    <a:cubicBezTo>
                      <a:pt x="8077" y="472"/>
                      <a:pt x="14492" y="734"/>
                      <a:pt x="10303" y="80"/>
                    </a:cubicBezTo>
                    <a:cubicBezTo>
                      <a:pt x="4149" y="-837"/>
                      <a:pt x="-1481" y="6364"/>
                      <a:pt x="352" y="11732"/>
                    </a:cubicBezTo>
                    <a:lnTo>
                      <a:pt x="352" y="11732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4" name="íṣḻíḋè"/>
              <p:cNvSpPr/>
              <p:nvPr/>
            </p:nvSpPr>
            <p:spPr>
              <a:xfrm>
                <a:off x="8141797" y="2056009"/>
                <a:ext cx="47193" cy="53154"/>
              </a:xfrm>
              <a:custGeom>
                <a:avLst/>
                <a:gdLst>
                  <a:gd name="connsiteX0" fmla="*/ 1770 w 47193"/>
                  <a:gd name="connsiteY0" fmla="*/ 23380 h 53154"/>
                  <a:gd name="connsiteX1" fmla="*/ 19315 w 47193"/>
                  <a:gd name="connsiteY1" fmla="*/ 50221 h 53154"/>
                  <a:gd name="connsiteX2" fmla="*/ 46680 w 47193"/>
                  <a:gd name="connsiteY2" fmla="*/ 30843 h 53154"/>
                  <a:gd name="connsiteX3" fmla="*/ 27564 w 47193"/>
                  <a:gd name="connsiteY3" fmla="*/ 5050 h 53154"/>
                  <a:gd name="connsiteX4" fmla="*/ 6615 w 47193"/>
                  <a:gd name="connsiteY4" fmla="*/ 2955 h 53154"/>
                  <a:gd name="connsiteX5" fmla="*/ 1770 w 47193"/>
                  <a:gd name="connsiteY5" fmla="*/ 23380 h 53154"/>
                  <a:gd name="connsiteX6" fmla="*/ 1770 w 47193"/>
                  <a:gd name="connsiteY6" fmla="*/ 23380 h 531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193" h="53154">
                    <a:moveTo>
                      <a:pt x="1770" y="23380"/>
                    </a:moveTo>
                    <a:cubicBezTo>
                      <a:pt x="6484" y="32938"/>
                      <a:pt x="10150" y="43937"/>
                      <a:pt x="19315" y="50221"/>
                    </a:cubicBezTo>
                    <a:cubicBezTo>
                      <a:pt x="32408" y="59256"/>
                      <a:pt x="50477" y="45901"/>
                      <a:pt x="46680" y="30843"/>
                    </a:cubicBezTo>
                    <a:cubicBezTo>
                      <a:pt x="44061" y="20369"/>
                      <a:pt x="34765" y="12644"/>
                      <a:pt x="27564" y="5050"/>
                    </a:cubicBezTo>
                    <a:cubicBezTo>
                      <a:pt x="22064" y="-842"/>
                      <a:pt x="13161" y="-1628"/>
                      <a:pt x="6615" y="2955"/>
                    </a:cubicBezTo>
                    <a:cubicBezTo>
                      <a:pt x="68" y="7537"/>
                      <a:pt x="-1765" y="16048"/>
                      <a:pt x="1770" y="23380"/>
                    </a:cubicBezTo>
                    <a:lnTo>
                      <a:pt x="1770" y="23380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" name="íṥľîḍé"/>
              <p:cNvSpPr/>
              <p:nvPr/>
            </p:nvSpPr>
            <p:spPr>
              <a:xfrm>
                <a:off x="8289818" y="2031905"/>
                <a:ext cx="45471" cy="45404"/>
              </a:xfrm>
              <a:custGeom>
                <a:avLst/>
                <a:gdLst>
                  <a:gd name="connsiteX0" fmla="*/ 16629 w 45471"/>
                  <a:gd name="connsiteY0" fmla="*/ 35308 h 45404"/>
                  <a:gd name="connsiteX1" fmla="*/ 11392 w 45471"/>
                  <a:gd name="connsiteY1" fmla="*/ 33213 h 45404"/>
                  <a:gd name="connsiteX2" fmla="*/ 9297 w 45471"/>
                  <a:gd name="connsiteY2" fmla="*/ 31380 h 45404"/>
                  <a:gd name="connsiteX3" fmla="*/ 9166 w 45471"/>
                  <a:gd name="connsiteY3" fmla="*/ 30987 h 45404"/>
                  <a:gd name="connsiteX4" fmla="*/ 7856 w 45471"/>
                  <a:gd name="connsiteY4" fmla="*/ 28499 h 45404"/>
                  <a:gd name="connsiteX5" fmla="*/ 7463 w 45471"/>
                  <a:gd name="connsiteY5" fmla="*/ 27582 h 45404"/>
                  <a:gd name="connsiteX6" fmla="*/ 7202 w 45471"/>
                  <a:gd name="connsiteY6" fmla="*/ 25881 h 45404"/>
                  <a:gd name="connsiteX7" fmla="*/ 22914 w 45471"/>
                  <a:gd name="connsiteY7" fmla="*/ 45128 h 45404"/>
                  <a:gd name="connsiteX8" fmla="*/ 44255 w 45471"/>
                  <a:gd name="connsiteY8" fmla="*/ 32427 h 45404"/>
                  <a:gd name="connsiteX9" fmla="*/ 9166 w 45471"/>
                  <a:gd name="connsiteY9" fmla="*/ 3098 h 45404"/>
                  <a:gd name="connsiteX10" fmla="*/ 524 w 45471"/>
                  <a:gd name="connsiteY10" fmla="*/ 22084 h 45404"/>
                  <a:gd name="connsiteX11" fmla="*/ 16629 w 45471"/>
                  <a:gd name="connsiteY11" fmla="*/ 35308 h 45404"/>
                  <a:gd name="connsiteX12" fmla="*/ 16629 w 45471"/>
                  <a:gd name="connsiteY12" fmla="*/ 35308 h 454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5471" h="45404">
                    <a:moveTo>
                      <a:pt x="16629" y="35308"/>
                    </a:moveTo>
                    <a:cubicBezTo>
                      <a:pt x="20033" y="35046"/>
                      <a:pt x="11522" y="33344"/>
                      <a:pt x="11392" y="33213"/>
                    </a:cubicBezTo>
                    <a:cubicBezTo>
                      <a:pt x="10737" y="32558"/>
                      <a:pt x="9951" y="32035"/>
                      <a:pt x="9297" y="31380"/>
                    </a:cubicBezTo>
                    <a:cubicBezTo>
                      <a:pt x="10344" y="32427"/>
                      <a:pt x="10213" y="32296"/>
                      <a:pt x="9166" y="30987"/>
                    </a:cubicBezTo>
                    <a:cubicBezTo>
                      <a:pt x="8511" y="30201"/>
                      <a:pt x="8118" y="29416"/>
                      <a:pt x="7856" y="28499"/>
                    </a:cubicBezTo>
                    <a:cubicBezTo>
                      <a:pt x="7333" y="26928"/>
                      <a:pt x="7202" y="26666"/>
                      <a:pt x="7463" y="27582"/>
                    </a:cubicBezTo>
                    <a:cubicBezTo>
                      <a:pt x="8118" y="28892"/>
                      <a:pt x="6809" y="32165"/>
                      <a:pt x="7202" y="25881"/>
                    </a:cubicBezTo>
                    <a:cubicBezTo>
                      <a:pt x="6547" y="35308"/>
                      <a:pt x="13879" y="43556"/>
                      <a:pt x="22914" y="45128"/>
                    </a:cubicBezTo>
                    <a:cubicBezTo>
                      <a:pt x="32210" y="46699"/>
                      <a:pt x="41113" y="41461"/>
                      <a:pt x="44255" y="32427"/>
                    </a:cubicBezTo>
                    <a:cubicBezTo>
                      <a:pt x="51064" y="12395"/>
                      <a:pt x="27889" y="-7900"/>
                      <a:pt x="9166" y="3098"/>
                    </a:cubicBezTo>
                    <a:cubicBezTo>
                      <a:pt x="2881" y="6895"/>
                      <a:pt x="-1571" y="14620"/>
                      <a:pt x="524" y="22084"/>
                    </a:cubicBezTo>
                    <a:cubicBezTo>
                      <a:pt x="2488" y="28892"/>
                      <a:pt x="9035" y="35831"/>
                      <a:pt x="16629" y="35308"/>
                    </a:cubicBezTo>
                    <a:lnTo>
                      <a:pt x="16629" y="35308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" name="íṡ1ídê"/>
              <p:cNvSpPr/>
              <p:nvPr/>
            </p:nvSpPr>
            <p:spPr>
              <a:xfrm>
                <a:off x="8021179" y="1961778"/>
                <a:ext cx="49459" cy="35268"/>
              </a:xfrm>
              <a:custGeom>
                <a:avLst/>
                <a:gdLst>
                  <a:gd name="connsiteX0" fmla="*/ 10310 w 49459"/>
                  <a:gd name="connsiteY0" fmla="*/ 31457 h 35268"/>
                  <a:gd name="connsiteX1" fmla="*/ 31129 w 49459"/>
                  <a:gd name="connsiteY1" fmla="*/ 35255 h 35268"/>
                  <a:gd name="connsiteX2" fmla="*/ 49459 w 49459"/>
                  <a:gd name="connsiteY2" fmla="*/ 18364 h 35268"/>
                  <a:gd name="connsiteX3" fmla="*/ 32569 w 49459"/>
                  <a:gd name="connsiteY3" fmla="*/ 34 h 35268"/>
                  <a:gd name="connsiteX4" fmla="*/ 11620 w 49459"/>
                  <a:gd name="connsiteY4" fmla="*/ 2260 h 35268"/>
                  <a:gd name="connsiteX5" fmla="*/ 10310 w 49459"/>
                  <a:gd name="connsiteY5" fmla="*/ 31457 h 35268"/>
                  <a:gd name="connsiteX6" fmla="*/ 10310 w 49459"/>
                  <a:gd name="connsiteY6" fmla="*/ 31457 h 35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9459" h="35268">
                    <a:moveTo>
                      <a:pt x="10310" y="31457"/>
                    </a:moveTo>
                    <a:cubicBezTo>
                      <a:pt x="17250" y="33160"/>
                      <a:pt x="23928" y="34993"/>
                      <a:pt x="31129" y="35255"/>
                    </a:cubicBezTo>
                    <a:cubicBezTo>
                      <a:pt x="40294" y="35647"/>
                      <a:pt x="49459" y="27922"/>
                      <a:pt x="49459" y="18364"/>
                    </a:cubicBezTo>
                    <a:cubicBezTo>
                      <a:pt x="49459" y="8806"/>
                      <a:pt x="42389" y="427"/>
                      <a:pt x="32569" y="34"/>
                    </a:cubicBezTo>
                    <a:cubicBezTo>
                      <a:pt x="25499" y="-228"/>
                      <a:pt x="18559" y="1081"/>
                      <a:pt x="11620" y="2260"/>
                    </a:cubicBezTo>
                    <a:cubicBezTo>
                      <a:pt x="-3176" y="4616"/>
                      <a:pt x="-4092" y="27791"/>
                      <a:pt x="10310" y="31457"/>
                    </a:cubicBezTo>
                    <a:lnTo>
                      <a:pt x="10310" y="31457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" name="ísḻiḋe"/>
              <p:cNvSpPr/>
              <p:nvPr/>
            </p:nvSpPr>
            <p:spPr>
              <a:xfrm>
                <a:off x="7993795" y="1750078"/>
                <a:ext cx="36273" cy="37610"/>
              </a:xfrm>
              <a:custGeom>
                <a:avLst/>
                <a:gdLst>
                  <a:gd name="connsiteX0" fmla="*/ 17400 w 36273"/>
                  <a:gd name="connsiteY0" fmla="*/ 37594 h 37610"/>
                  <a:gd name="connsiteX1" fmla="*/ 18972 w 36273"/>
                  <a:gd name="connsiteY1" fmla="*/ 17 h 37610"/>
                  <a:gd name="connsiteX2" fmla="*/ 17400 w 36273"/>
                  <a:gd name="connsiteY2" fmla="*/ 37594 h 37610"/>
                  <a:gd name="connsiteX3" fmla="*/ 17400 w 36273"/>
                  <a:gd name="connsiteY3" fmla="*/ 37594 h 37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273" h="37610">
                    <a:moveTo>
                      <a:pt x="17400" y="37594"/>
                    </a:moveTo>
                    <a:cubicBezTo>
                      <a:pt x="41492" y="38510"/>
                      <a:pt x="43063" y="1064"/>
                      <a:pt x="18972" y="17"/>
                    </a:cubicBezTo>
                    <a:cubicBezTo>
                      <a:pt x="-5251" y="-900"/>
                      <a:pt x="-6822" y="36546"/>
                      <a:pt x="17400" y="37594"/>
                    </a:cubicBezTo>
                    <a:lnTo>
                      <a:pt x="17400" y="37594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" name="ïṡḻïḍê"/>
              <p:cNvSpPr/>
              <p:nvPr/>
            </p:nvSpPr>
            <p:spPr>
              <a:xfrm>
                <a:off x="8193332" y="1671381"/>
                <a:ext cx="42662" cy="44170"/>
              </a:xfrm>
              <a:custGeom>
                <a:avLst/>
                <a:gdLst>
                  <a:gd name="connsiteX0" fmla="*/ 20415 w 42662"/>
                  <a:gd name="connsiteY0" fmla="*/ 44147 h 44170"/>
                  <a:gd name="connsiteX1" fmla="*/ 22248 w 42662"/>
                  <a:gd name="connsiteY1" fmla="*/ 23 h 44170"/>
                  <a:gd name="connsiteX2" fmla="*/ 20415 w 42662"/>
                  <a:gd name="connsiteY2" fmla="*/ 44147 h 44170"/>
                  <a:gd name="connsiteX3" fmla="*/ 20415 w 42662"/>
                  <a:gd name="connsiteY3" fmla="*/ 44147 h 44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662" h="44170">
                    <a:moveTo>
                      <a:pt x="20415" y="44147"/>
                    </a:moveTo>
                    <a:cubicBezTo>
                      <a:pt x="48827" y="45326"/>
                      <a:pt x="50660" y="1202"/>
                      <a:pt x="22248" y="23"/>
                    </a:cubicBezTo>
                    <a:cubicBezTo>
                      <a:pt x="-6165" y="-1155"/>
                      <a:pt x="-7997" y="42969"/>
                      <a:pt x="20415" y="44147"/>
                    </a:cubicBezTo>
                    <a:lnTo>
                      <a:pt x="20415" y="44147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" name="ïsḻíḑé"/>
              <p:cNvSpPr/>
              <p:nvPr/>
            </p:nvSpPr>
            <p:spPr>
              <a:xfrm>
                <a:off x="8614022" y="1784132"/>
                <a:ext cx="54592" cy="33756"/>
              </a:xfrm>
              <a:custGeom>
                <a:avLst/>
                <a:gdLst>
                  <a:gd name="connsiteX0" fmla="*/ 9936 w 54592"/>
                  <a:gd name="connsiteY0" fmla="*/ 29072 h 33756"/>
                  <a:gd name="connsiteX1" fmla="*/ 44764 w 54592"/>
                  <a:gd name="connsiteY1" fmla="*/ 32607 h 33756"/>
                  <a:gd name="connsiteX2" fmla="*/ 48823 w 54592"/>
                  <a:gd name="connsiteY2" fmla="*/ 8909 h 33756"/>
                  <a:gd name="connsiteX3" fmla="*/ 15174 w 54592"/>
                  <a:gd name="connsiteY3" fmla="*/ 5 h 33756"/>
                  <a:gd name="connsiteX4" fmla="*/ 9936 w 54592"/>
                  <a:gd name="connsiteY4" fmla="*/ 29072 h 33756"/>
                  <a:gd name="connsiteX5" fmla="*/ 9936 w 54592"/>
                  <a:gd name="connsiteY5" fmla="*/ 29072 h 33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592" h="33756">
                    <a:moveTo>
                      <a:pt x="9936" y="29072"/>
                    </a:moveTo>
                    <a:cubicBezTo>
                      <a:pt x="21589" y="33655"/>
                      <a:pt x="32457" y="34964"/>
                      <a:pt x="44764" y="32607"/>
                    </a:cubicBezTo>
                    <a:cubicBezTo>
                      <a:pt x="55763" y="30512"/>
                      <a:pt x="58119" y="14670"/>
                      <a:pt x="48823" y="8909"/>
                    </a:cubicBezTo>
                    <a:cubicBezTo>
                      <a:pt x="38218" y="2362"/>
                      <a:pt x="27612" y="-126"/>
                      <a:pt x="15174" y="5"/>
                    </a:cubicBezTo>
                    <a:cubicBezTo>
                      <a:pt x="-1979" y="5"/>
                      <a:pt x="-5776" y="23049"/>
                      <a:pt x="9936" y="29072"/>
                    </a:cubicBezTo>
                    <a:lnTo>
                      <a:pt x="9936" y="29072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" name="i$ḻidé"/>
              <p:cNvSpPr/>
              <p:nvPr/>
            </p:nvSpPr>
            <p:spPr>
              <a:xfrm>
                <a:off x="8718646" y="2056728"/>
                <a:ext cx="43317" cy="39552"/>
              </a:xfrm>
              <a:custGeom>
                <a:avLst/>
                <a:gdLst>
                  <a:gd name="connsiteX0" fmla="*/ 3773 w 43317"/>
                  <a:gd name="connsiteY0" fmla="*/ 25018 h 39552"/>
                  <a:gd name="connsiteX1" fmla="*/ 27603 w 43317"/>
                  <a:gd name="connsiteY1" fmla="*/ 39551 h 39552"/>
                  <a:gd name="connsiteX2" fmla="*/ 42660 w 43317"/>
                  <a:gd name="connsiteY2" fmla="*/ 21352 h 39552"/>
                  <a:gd name="connsiteX3" fmla="*/ 32054 w 43317"/>
                  <a:gd name="connsiteY3" fmla="*/ 6295 h 39552"/>
                  <a:gd name="connsiteX4" fmla="*/ 19223 w 43317"/>
                  <a:gd name="connsiteY4" fmla="*/ 665 h 39552"/>
                  <a:gd name="connsiteX5" fmla="*/ 2202 w 43317"/>
                  <a:gd name="connsiteY5" fmla="*/ 6818 h 39552"/>
                  <a:gd name="connsiteX6" fmla="*/ 3773 w 43317"/>
                  <a:gd name="connsiteY6" fmla="*/ 25018 h 39552"/>
                  <a:gd name="connsiteX7" fmla="*/ 3773 w 43317"/>
                  <a:gd name="connsiteY7" fmla="*/ 25018 h 39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3317" h="39552">
                    <a:moveTo>
                      <a:pt x="3773" y="25018"/>
                    </a:moveTo>
                    <a:cubicBezTo>
                      <a:pt x="9796" y="33267"/>
                      <a:pt x="16866" y="39421"/>
                      <a:pt x="27603" y="39551"/>
                    </a:cubicBezTo>
                    <a:cubicBezTo>
                      <a:pt x="36375" y="39682"/>
                      <a:pt x="45933" y="30779"/>
                      <a:pt x="42660" y="21352"/>
                    </a:cubicBezTo>
                    <a:cubicBezTo>
                      <a:pt x="40434" y="14805"/>
                      <a:pt x="37815" y="10354"/>
                      <a:pt x="32054" y="6295"/>
                    </a:cubicBezTo>
                    <a:cubicBezTo>
                      <a:pt x="28126" y="3545"/>
                      <a:pt x="23675" y="2236"/>
                      <a:pt x="19223" y="665"/>
                    </a:cubicBezTo>
                    <a:cubicBezTo>
                      <a:pt x="13200" y="-1300"/>
                      <a:pt x="5475" y="1188"/>
                      <a:pt x="2202" y="6818"/>
                    </a:cubicBezTo>
                    <a:cubicBezTo>
                      <a:pt x="-1464" y="13234"/>
                      <a:pt x="-286" y="19519"/>
                      <a:pt x="3773" y="25018"/>
                    </a:cubicBezTo>
                    <a:lnTo>
                      <a:pt x="3773" y="25018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išḷîḑê"/>
              <p:cNvSpPr/>
              <p:nvPr/>
            </p:nvSpPr>
            <p:spPr>
              <a:xfrm>
                <a:off x="8616524" y="2185598"/>
                <a:ext cx="48784" cy="41560"/>
              </a:xfrm>
              <a:custGeom>
                <a:avLst/>
                <a:gdLst>
                  <a:gd name="connsiteX0" fmla="*/ 9791 w 48784"/>
                  <a:gd name="connsiteY0" fmla="*/ 30747 h 41560"/>
                  <a:gd name="connsiteX1" fmla="*/ 12017 w 48784"/>
                  <a:gd name="connsiteY1" fmla="*/ 31401 h 41560"/>
                  <a:gd name="connsiteX2" fmla="*/ 14636 w 48784"/>
                  <a:gd name="connsiteY2" fmla="*/ 31925 h 41560"/>
                  <a:gd name="connsiteX3" fmla="*/ 15683 w 48784"/>
                  <a:gd name="connsiteY3" fmla="*/ 32056 h 41560"/>
                  <a:gd name="connsiteX4" fmla="*/ 16600 w 48784"/>
                  <a:gd name="connsiteY4" fmla="*/ 32580 h 41560"/>
                  <a:gd name="connsiteX5" fmla="*/ 14636 w 48784"/>
                  <a:gd name="connsiteY5" fmla="*/ 31663 h 41560"/>
                  <a:gd name="connsiteX6" fmla="*/ 14636 w 48784"/>
                  <a:gd name="connsiteY6" fmla="*/ 31532 h 41560"/>
                  <a:gd name="connsiteX7" fmla="*/ 14898 w 48784"/>
                  <a:gd name="connsiteY7" fmla="*/ 31925 h 41560"/>
                  <a:gd name="connsiteX8" fmla="*/ 19480 w 48784"/>
                  <a:gd name="connsiteY8" fmla="*/ 36246 h 41560"/>
                  <a:gd name="connsiteX9" fmla="*/ 18302 w 48784"/>
                  <a:gd name="connsiteY9" fmla="*/ 35460 h 41560"/>
                  <a:gd name="connsiteX10" fmla="*/ 26550 w 48784"/>
                  <a:gd name="connsiteY10" fmla="*/ 40567 h 41560"/>
                  <a:gd name="connsiteX11" fmla="*/ 41346 w 48784"/>
                  <a:gd name="connsiteY11" fmla="*/ 38210 h 41560"/>
                  <a:gd name="connsiteX12" fmla="*/ 48547 w 48784"/>
                  <a:gd name="connsiteY12" fmla="*/ 25247 h 41560"/>
                  <a:gd name="connsiteX13" fmla="*/ 30217 w 48784"/>
                  <a:gd name="connsiteY13" fmla="*/ 1418 h 41560"/>
                  <a:gd name="connsiteX14" fmla="*/ 4554 w 48784"/>
                  <a:gd name="connsiteY14" fmla="*/ 6393 h 41560"/>
                  <a:gd name="connsiteX15" fmla="*/ 9791 w 48784"/>
                  <a:gd name="connsiteY15" fmla="*/ 30747 h 41560"/>
                  <a:gd name="connsiteX16" fmla="*/ 9791 w 48784"/>
                  <a:gd name="connsiteY16" fmla="*/ 30747 h 41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8784" h="41560">
                    <a:moveTo>
                      <a:pt x="9791" y="30747"/>
                    </a:moveTo>
                    <a:cubicBezTo>
                      <a:pt x="10577" y="30878"/>
                      <a:pt x="11232" y="31270"/>
                      <a:pt x="12017" y="31401"/>
                    </a:cubicBezTo>
                    <a:cubicBezTo>
                      <a:pt x="12803" y="31663"/>
                      <a:pt x="13719" y="31925"/>
                      <a:pt x="14636" y="31925"/>
                    </a:cubicBezTo>
                    <a:cubicBezTo>
                      <a:pt x="17123" y="32318"/>
                      <a:pt x="17516" y="32449"/>
                      <a:pt x="15683" y="32056"/>
                    </a:cubicBezTo>
                    <a:cubicBezTo>
                      <a:pt x="12934" y="30485"/>
                      <a:pt x="16338" y="32973"/>
                      <a:pt x="16600" y="32580"/>
                    </a:cubicBezTo>
                    <a:cubicBezTo>
                      <a:pt x="15945" y="32318"/>
                      <a:pt x="15290" y="31925"/>
                      <a:pt x="14636" y="31663"/>
                    </a:cubicBezTo>
                    <a:cubicBezTo>
                      <a:pt x="15814" y="32449"/>
                      <a:pt x="15814" y="32449"/>
                      <a:pt x="14636" y="31532"/>
                    </a:cubicBezTo>
                    <a:cubicBezTo>
                      <a:pt x="13850" y="29830"/>
                      <a:pt x="14112" y="31139"/>
                      <a:pt x="14898" y="31925"/>
                    </a:cubicBezTo>
                    <a:cubicBezTo>
                      <a:pt x="16338" y="33496"/>
                      <a:pt x="17778" y="34937"/>
                      <a:pt x="19480" y="36246"/>
                    </a:cubicBezTo>
                    <a:cubicBezTo>
                      <a:pt x="18825" y="35853"/>
                      <a:pt x="16731" y="33758"/>
                      <a:pt x="18302" y="35460"/>
                    </a:cubicBezTo>
                    <a:cubicBezTo>
                      <a:pt x="20789" y="38079"/>
                      <a:pt x="23408" y="39126"/>
                      <a:pt x="26550" y="40567"/>
                    </a:cubicBezTo>
                    <a:cubicBezTo>
                      <a:pt x="31264" y="42793"/>
                      <a:pt x="37418" y="40959"/>
                      <a:pt x="41346" y="38210"/>
                    </a:cubicBezTo>
                    <a:cubicBezTo>
                      <a:pt x="46060" y="34937"/>
                      <a:pt x="47631" y="30747"/>
                      <a:pt x="48547" y="25247"/>
                    </a:cubicBezTo>
                    <a:cubicBezTo>
                      <a:pt x="50511" y="13987"/>
                      <a:pt x="39906" y="4298"/>
                      <a:pt x="30217" y="1418"/>
                    </a:cubicBezTo>
                    <a:cubicBezTo>
                      <a:pt x="21444" y="-1201"/>
                      <a:pt x="11101" y="-546"/>
                      <a:pt x="4554" y="6393"/>
                    </a:cubicBezTo>
                    <a:cubicBezTo>
                      <a:pt x="-2647" y="13594"/>
                      <a:pt x="-1600" y="28128"/>
                      <a:pt x="9791" y="30747"/>
                    </a:cubicBezTo>
                    <a:lnTo>
                      <a:pt x="9791" y="30747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ïśḷïďê"/>
              <p:cNvSpPr/>
              <p:nvPr/>
            </p:nvSpPr>
            <p:spPr>
              <a:xfrm>
                <a:off x="8368622" y="2132638"/>
                <a:ext cx="38394" cy="35973"/>
              </a:xfrm>
              <a:custGeom>
                <a:avLst/>
                <a:gdLst>
                  <a:gd name="connsiteX0" fmla="*/ 22014 w 38394"/>
                  <a:gd name="connsiteY0" fmla="*/ 35523 h 35973"/>
                  <a:gd name="connsiteX1" fmla="*/ 33405 w 38394"/>
                  <a:gd name="connsiteY1" fmla="*/ 29893 h 35973"/>
                  <a:gd name="connsiteX2" fmla="*/ 34322 w 38394"/>
                  <a:gd name="connsiteY2" fmla="*/ 7242 h 35973"/>
                  <a:gd name="connsiteX3" fmla="*/ 23455 w 38394"/>
                  <a:gd name="connsiteY3" fmla="*/ 826 h 35973"/>
                  <a:gd name="connsiteX4" fmla="*/ 18 w 38394"/>
                  <a:gd name="connsiteY4" fmla="*/ 17193 h 35973"/>
                  <a:gd name="connsiteX5" fmla="*/ 22014 w 38394"/>
                  <a:gd name="connsiteY5" fmla="*/ 35523 h 35973"/>
                  <a:gd name="connsiteX6" fmla="*/ 22014 w 38394"/>
                  <a:gd name="connsiteY6" fmla="*/ 35523 h 35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394" h="35973">
                    <a:moveTo>
                      <a:pt x="22014" y="35523"/>
                    </a:moveTo>
                    <a:cubicBezTo>
                      <a:pt x="26204" y="34607"/>
                      <a:pt x="30394" y="33167"/>
                      <a:pt x="33405" y="29893"/>
                    </a:cubicBezTo>
                    <a:cubicBezTo>
                      <a:pt x="39690" y="23216"/>
                      <a:pt x="40083" y="14443"/>
                      <a:pt x="34322" y="7242"/>
                    </a:cubicBezTo>
                    <a:cubicBezTo>
                      <a:pt x="31441" y="3707"/>
                      <a:pt x="27644" y="2135"/>
                      <a:pt x="23455" y="826"/>
                    </a:cubicBezTo>
                    <a:cubicBezTo>
                      <a:pt x="12325" y="-2709"/>
                      <a:pt x="542" y="5540"/>
                      <a:pt x="18" y="17193"/>
                    </a:cubicBezTo>
                    <a:cubicBezTo>
                      <a:pt x="-506" y="28977"/>
                      <a:pt x="10623" y="38142"/>
                      <a:pt x="22014" y="35523"/>
                    </a:cubicBezTo>
                    <a:lnTo>
                      <a:pt x="22014" y="3552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iSľïḑê"/>
              <p:cNvSpPr/>
              <p:nvPr/>
            </p:nvSpPr>
            <p:spPr>
              <a:xfrm>
                <a:off x="8930502" y="2235022"/>
                <a:ext cx="60013" cy="43524"/>
              </a:xfrm>
              <a:custGeom>
                <a:avLst/>
                <a:gdLst>
                  <a:gd name="connsiteX0" fmla="*/ 4289 w 60013"/>
                  <a:gd name="connsiteY0" fmla="*/ 27803 h 43524"/>
                  <a:gd name="connsiteX1" fmla="*/ 25370 w 60013"/>
                  <a:gd name="connsiteY1" fmla="*/ 39980 h 43524"/>
                  <a:gd name="connsiteX2" fmla="*/ 51556 w 60013"/>
                  <a:gd name="connsiteY2" fmla="*/ 40635 h 43524"/>
                  <a:gd name="connsiteX3" fmla="*/ 58365 w 60013"/>
                  <a:gd name="connsiteY3" fmla="*/ 18245 h 43524"/>
                  <a:gd name="connsiteX4" fmla="*/ 38201 w 60013"/>
                  <a:gd name="connsiteY4" fmla="*/ 3712 h 43524"/>
                  <a:gd name="connsiteX5" fmla="*/ 16990 w 60013"/>
                  <a:gd name="connsiteY5" fmla="*/ 46 h 43524"/>
                  <a:gd name="connsiteX6" fmla="*/ 1540 w 60013"/>
                  <a:gd name="connsiteY6" fmla="*/ 9604 h 43524"/>
                  <a:gd name="connsiteX7" fmla="*/ 4289 w 60013"/>
                  <a:gd name="connsiteY7" fmla="*/ 27803 h 43524"/>
                  <a:gd name="connsiteX8" fmla="*/ 4289 w 60013"/>
                  <a:gd name="connsiteY8" fmla="*/ 27803 h 43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0013" h="43524">
                    <a:moveTo>
                      <a:pt x="4289" y="27803"/>
                    </a:moveTo>
                    <a:cubicBezTo>
                      <a:pt x="10313" y="33171"/>
                      <a:pt x="17907" y="36969"/>
                      <a:pt x="25370" y="39980"/>
                    </a:cubicBezTo>
                    <a:cubicBezTo>
                      <a:pt x="34011" y="43515"/>
                      <a:pt x="42915" y="45479"/>
                      <a:pt x="51556" y="40635"/>
                    </a:cubicBezTo>
                    <a:cubicBezTo>
                      <a:pt x="59805" y="36052"/>
                      <a:pt x="61900" y="26625"/>
                      <a:pt x="58365" y="18245"/>
                    </a:cubicBezTo>
                    <a:cubicBezTo>
                      <a:pt x="54830" y="9865"/>
                      <a:pt x="46450" y="6069"/>
                      <a:pt x="38201" y="3712"/>
                    </a:cubicBezTo>
                    <a:cubicBezTo>
                      <a:pt x="31916" y="1879"/>
                      <a:pt x="23537" y="-347"/>
                      <a:pt x="16990" y="46"/>
                    </a:cubicBezTo>
                    <a:cubicBezTo>
                      <a:pt x="10313" y="569"/>
                      <a:pt x="4421" y="3057"/>
                      <a:pt x="1540" y="9604"/>
                    </a:cubicBezTo>
                    <a:cubicBezTo>
                      <a:pt x="-948" y="15234"/>
                      <a:pt x="-686" y="23483"/>
                      <a:pt x="4289" y="27803"/>
                    </a:cubicBezTo>
                    <a:lnTo>
                      <a:pt x="4289" y="2780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íṩ1íḑè"/>
              <p:cNvSpPr/>
              <p:nvPr/>
            </p:nvSpPr>
            <p:spPr>
              <a:xfrm>
                <a:off x="8762194" y="1966704"/>
                <a:ext cx="37625" cy="37163"/>
              </a:xfrm>
              <a:custGeom>
                <a:avLst/>
                <a:gdLst>
                  <a:gd name="connsiteX0" fmla="*/ 2386 w 37625"/>
                  <a:gd name="connsiteY0" fmla="*/ 26139 h 37163"/>
                  <a:gd name="connsiteX1" fmla="*/ 2910 w 37625"/>
                  <a:gd name="connsiteY1" fmla="*/ 27448 h 37163"/>
                  <a:gd name="connsiteX2" fmla="*/ 37607 w 37625"/>
                  <a:gd name="connsiteY2" fmla="*/ 19461 h 37163"/>
                  <a:gd name="connsiteX3" fmla="*/ 3564 w 37625"/>
                  <a:gd name="connsiteY3" fmla="*/ 8725 h 37163"/>
                  <a:gd name="connsiteX4" fmla="*/ 2648 w 37625"/>
                  <a:gd name="connsiteY4" fmla="*/ 9903 h 37163"/>
                  <a:gd name="connsiteX5" fmla="*/ 1993 w 37625"/>
                  <a:gd name="connsiteY5" fmla="*/ 26139 h 37163"/>
                  <a:gd name="connsiteX6" fmla="*/ 2779 w 37625"/>
                  <a:gd name="connsiteY6" fmla="*/ 27317 h 37163"/>
                  <a:gd name="connsiteX7" fmla="*/ 37476 w 37625"/>
                  <a:gd name="connsiteY7" fmla="*/ 19330 h 37163"/>
                  <a:gd name="connsiteX8" fmla="*/ 3434 w 37625"/>
                  <a:gd name="connsiteY8" fmla="*/ 8594 h 37163"/>
                  <a:gd name="connsiteX9" fmla="*/ 2386 w 37625"/>
                  <a:gd name="connsiteY9" fmla="*/ 26139 h 37163"/>
                  <a:gd name="connsiteX10" fmla="*/ 2386 w 37625"/>
                  <a:gd name="connsiteY10" fmla="*/ 26139 h 37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7625" h="37163">
                    <a:moveTo>
                      <a:pt x="2386" y="26139"/>
                    </a:moveTo>
                    <a:cubicBezTo>
                      <a:pt x="2517" y="26531"/>
                      <a:pt x="2779" y="27055"/>
                      <a:pt x="2910" y="27448"/>
                    </a:cubicBezTo>
                    <a:cubicBezTo>
                      <a:pt x="9980" y="44993"/>
                      <a:pt x="36952" y="36613"/>
                      <a:pt x="37607" y="19461"/>
                    </a:cubicBezTo>
                    <a:cubicBezTo>
                      <a:pt x="38392" y="-310"/>
                      <a:pt x="14563" y="-4631"/>
                      <a:pt x="3564" y="8725"/>
                    </a:cubicBezTo>
                    <a:cubicBezTo>
                      <a:pt x="3302" y="9117"/>
                      <a:pt x="2910" y="9510"/>
                      <a:pt x="2648" y="9903"/>
                    </a:cubicBezTo>
                    <a:cubicBezTo>
                      <a:pt x="-625" y="13831"/>
                      <a:pt x="-887" y="21949"/>
                      <a:pt x="1993" y="26139"/>
                    </a:cubicBezTo>
                    <a:cubicBezTo>
                      <a:pt x="2255" y="26531"/>
                      <a:pt x="2517" y="26924"/>
                      <a:pt x="2779" y="27317"/>
                    </a:cubicBezTo>
                    <a:cubicBezTo>
                      <a:pt x="12599" y="41458"/>
                      <a:pt x="36690" y="39101"/>
                      <a:pt x="37476" y="19330"/>
                    </a:cubicBezTo>
                    <a:cubicBezTo>
                      <a:pt x="38130" y="2309"/>
                      <a:pt x="11944" y="-8427"/>
                      <a:pt x="3434" y="8594"/>
                    </a:cubicBezTo>
                    <a:cubicBezTo>
                      <a:pt x="553" y="15009"/>
                      <a:pt x="-233" y="19592"/>
                      <a:pt x="2386" y="26139"/>
                    </a:cubicBezTo>
                    <a:lnTo>
                      <a:pt x="2386" y="2613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îsḷíḋê"/>
              <p:cNvSpPr/>
              <p:nvPr/>
            </p:nvSpPr>
            <p:spPr>
              <a:xfrm>
                <a:off x="7670884" y="1733489"/>
                <a:ext cx="56213" cy="44499"/>
              </a:xfrm>
              <a:custGeom>
                <a:avLst/>
                <a:gdLst>
                  <a:gd name="connsiteX0" fmla="*/ 51867 w 56213"/>
                  <a:gd name="connsiteY0" fmla="*/ 16605 h 44499"/>
                  <a:gd name="connsiteX1" fmla="*/ 14289 w 56213"/>
                  <a:gd name="connsiteY1" fmla="*/ 500 h 44499"/>
                  <a:gd name="connsiteX2" fmla="*/ 2243 w 56213"/>
                  <a:gd name="connsiteY2" fmla="*/ 27079 h 44499"/>
                  <a:gd name="connsiteX3" fmla="*/ 39035 w 56213"/>
                  <a:gd name="connsiteY3" fmla="*/ 44493 h 44499"/>
                  <a:gd name="connsiteX4" fmla="*/ 51867 w 56213"/>
                  <a:gd name="connsiteY4" fmla="*/ 16605 h 44499"/>
                  <a:gd name="connsiteX5" fmla="*/ 51867 w 56213"/>
                  <a:gd name="connsiteY5" fmla="*/ 16605 h 44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6213" h="44499">
                    <a:moveTo>
                      <a:pt x="51867" y="16605"/>
                    </a:moveTo>
                    <a:cubicBezTo>
                      <a:pt x="42570" y="6785"/>
                      <a:pt x="28430" y="-2249"/>
                      <a:pt x="14289" y="500"/>
                    </a:cubicBezTo>
                    <a:cubicBezTo>
                      <a:pt x="3029" y="2726"/>
                      <a:pt x="-3779" y="17128"/>
                      <a:pt x="2243" y="27079"/>
                    </a:cubicBezTo>
                    <a:cubicBezTo>
                      <a:pt x="9576" y="39387"/>
                      <a:pt x="25418" y="44101"/>
                      <a:pt x="39035" y="44493"/>
                    </a:cubicBezTo>
                    <a:cubicBezTo>
                      <a:pt x="53176" y="44886"/>
                      <a:pt x="61948" y="27211"/>
                      <a:pt x="51867" y="16605"/>
                    </a:cubicBezTo>
                    <a:lnTo>
                      <a:pt x="51867" y="16605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ï$1íḋè"/>
              <p:cNvSpPr/>
              <p:nvPr/>
            </p:nvSpPr>
            <p:spPr>
              <a:xfrm>
                <a:off x="7839396" y="1885261"/>
                <a:ext cx="56982" cy="33459"/>
              </a:xfrm>
              <a:custGeom>
                <a:avLst/>
                <a:gdLst>
                  <a:gd name="connsiteX0" fmla="*/ 49770 w 56982"/>
                  <a:gd name="connsiteY0" fmla="*/ 7550 h 33459"/>
                  <a:gd name="connsiteX1" fmla="*/ 17167 w 56982"/>
                  <a:gd name="connsiteY1" fmla="*/ 87 h 33459"/>
                  <a:gd name="connsiteX2" fmla="*/ 15 w 56982"/>
                  <a:gd name="connsiteY2" fmla="*/ 15929 h 33459"/>
                  <a:gd name="connsiteX3" fmla="*/ 15858 w 56982"/>
                  <a:gd name="connsiteY3" fmla="*/ 33082 h 33459"/>
                  <a:gd name="connsiteX4" fmla="*/ 48853 w 56982"/>
                  <a:gd name="connsiteY4" fmla="*/ 28237 h 33459"/>
                  <a:gd name="connsiteX5" fmla="*/ 49770 w 56982"/>
                  <a:gd name="connsiteY5" fmla="*/ 7550 h 33459"/>
                  <a:gd name="connsiteX6" fmla="*/ 49770 w 56982"/>
                  <a:gd name="connsiteY6" fmla="*/ 7550 h 33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982" h="33459">
                    <a:moveTo>
                      <a:pt x="49770" y="7550"/>
                    </a:moveTo>
                    <a:cubicBezTo>
                      <a:pt x="39688" y="4015"/>
                      <a:pt x="28166" y="-699"/>
                      <a:pt x="17167" y="87"/>
                    </a:cubicBezTo>
                    <a:cubicBezTo>
                      <a:pt x="8264" y="741"/>
                      <a:pt x="408" y="6372"/>
                      <a:pt x="15" y="15929"/>
                    </a:cubicBezTo>
                    <a:cubicBezTo>
                      <a:pt x="-378" y="25619"/>
                      <a:pt x="6954" y="31773"/>
                      <a:pt x="15858" y="33082"/>
                    </a:cubicBezTo>
                    <a:cubicBezTo>
                      <a:pt x="26725" y="34653"/>
                      <a:pt x="38509" y="30987"/>
                      <a:pt x="48853" y="28237"/>
                    </a:cubicBezTo>
                    <a:cubicBezTo>
                      <a:pt x="59197" y="25488"/>
                      <a:pt x="59851" y="11085"/>
                      <a:pt x="49770" y="7550"/>
                    </a:cubicBezTo>
                    <a:lnTo>
                      <a:pt x="49770" y="7550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íśḷide"/>
              <p:cNvSpPr/>
              <p:nvPr/>
            </p:nvSpPr>
            <p:spPr>
              <a:xfrm>
                <a:off x="7872787" y="1594722"/>
                <a:ext cx="36651" cy="44930"/>
              </a:xfrm>
              <a:custGeom>
                <a:avLst/>
                <a:gdLst>
                  <a:gd name="connsiteX0" fmla="*/ 36019 w 36651"/>
                  <a:gd name="connsiteY0" fmla="*/ 38843 h 44930"/>
                  <a:gd name="connsiteX1" fmla="*/ 33662 w 36651"/>
                  <a:gd name="connsiteY1" fmla="*/ 13311 h 44930"/>
                  <a:gd name="connsiteX2" fmla="*/ 13106 w 36651"/>
                  <a:gd name="connsiteY2" fmla="*/ 611 h 44930"/>
                  <a:gd name="connsiteX3" fmla="*/ 5381 w 36651"/>
                  <a:gd name="connsiteY3" fmla="*/ 4670 h 44930"/>
                  <a:gd name="connsiteX4" fmla="*/ 4464 w 36651"/>
                  <a:gd name="connsiteY4" fmla="*/ 28761 h 44930"/>
                  <a:gd name="connsiteX5" fmla="*/ 24889 w 36651"/>
                  <a:gd name="connsiteY5" fmla="*/ 44473 h 44930"/>
                  <a:gd name="connsiteX6" fmla="*/ 36019 w 36651"/>
                  <a:gd name="connsiteY6" fmla="*/ 38843 h 44930"/>
                  <a:gd name="connsiteX7" fmla="*/ 36019 w 36651"/>
                  <a:gd name="connsiteY7" fmla="*/ 38843 h 44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651" h="44930">
                    <a:moveTo>
                      <a:pt x="36019" y="38843"/>
                    </a:moveTo>
                    <a:cubicBezTo>
                      <a:pt x="37590" y="30463"/>
                      <a:pt x="36019" y="21560"/>
                      <a:pt x="33662" y="13311"/>
                    </a:cubicBezTo>
                    <a:cubicBezTo>
                      <a:pt x="31305" y="4801"/>
                      <a:pt x="22402" y="-2139"/>
                      <a:pt x="13106" y="611"/>
                    </a:cubicBezTo>
                    <a:cubicBezTo>
                      <a:pt x="9963" y="1527"/>
                      <a:pt x="7868" y="2575"/>
                      <a:pt x="5381" y="4670"/>
                    </a:cubicBezTo>
                    <a:cubicBezTo>
                      <a:pt x="-1428" y="10823"/>
                      <a:pt x="-1821" y="22083"/>
                      <a:pt x="4464" y="28761"/>
                    </a:cubicBezTo>
                    <a:cubicBezTo>
                      <a:pt x="10225" y="34915"/>
                      <a:pt x="16903" y="41462"/>
                      <a:pt x="24889" y="44473"/>
                    </a:cubicBezTo>
                    <a:cubicBezTo>
                      <a:pt x="28948" y="46044"/>
                      <a:pt x="35102" y="43425"/>
                      <a:pt x="36019" y="38843"/>
                    </a:cubicBezTo>
                    <a:lnTo>
                      <a:pt x="36019" y="3884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íSlidé"/>
              <p:cNvSpPr/>
              <p:nvPr/>
            </p:nvSpPr>
            <p:spPr>
              <a:xfrm>
                <a:off x="8069619" y="1577312"/>
                <a:ext cx="41303" cy="42624"/>
              </a:xfrm>
              <a:custGeom>
                <a:avLst/>
                <a:gdLst>
                  <a:gd name="connsiteX0" fmla="*/ 40953 w 41303"/>
                  <a:gd name="connsiteY0" fmla="*/ 30982 h 42624"/>
                  <a:gd name="connsiteX1" fmla="*/ 39251 w 41303"/>
                  <a:gd name="connsiteY1" fmla="*/ 21817 h 42624"/>
                  <a:gd name="connsiteX2" fmla="*/ 34930 w 41303"/>
                  <a:gd name="connsiteY2" fmla="*/ 9771 h 42624"/>
                  <a:gd name="connsiteX3" fmla="*/ 5863 w 41303"/>
                  <a:gd name="connsiteY3" fmla="*/ 4796 h 42624"/>
                  <a:gd name="connsiteX4" fmla="*/ 8482 w 41303"/>
                  <a:gd name="connsiteY4" fmla="*/ 34125 h 42624"/>
                  <a:gd name="connsiteX5" fmla="*/ 20004 w 41303"/>
                  <a:gd name="connsiteY5" fmla="*/ 39493 h 42624"/>
                  <a:gd name="connsiteX6" fmla="*/ 28907 w 41303"/>
                  <a:gd name="connsiteY6" fmla="*/ 41981 h 42624"/>
                  <a:gd name="connsiteX7" fmla="*/ 40953 w 41303"/>
                  <a:gd name="connsiteY7" fmla="*/ 30982 h 42624"/>
                  <a:gd name="connsiteX8" fmla="*/ 40953 w 41303"/>
                  <a:gd name="connsiteY8" fmla="*/ 30982 h 42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303" h="42624">
                    <a:moveTo>
                      <a:pt x="40953" y="30982"/>
                    </a:moveTo>
                    <a:cubicBezTo>
                      <a:pt x="40036" y="27971"/>
                      <a:pt x="39905" y="24960"/>
                      <a:pt x="39251" y="21817"/>
                    </a:cubicBezTo>
                    <a:cubicBezTo>
                      <a:pt x="38465" y="17758"/>
                      <a:pt x="36632" y="13437"/>
                      <a:pt x="34930" y="9771"/>
                    </a:cubicBezTo>
                    <a:cubicBezTo>
                      <a:pt x="29955" y="-1358"/>
                      <a:pt x="14243" y="-2929"/>
                      <a:pt x="5863" y="4796"/>
                    </a:cubicBezTo>
                    <a:cubicBezTo>
                      <a:pt x="-2648" y="12652"/>
                      <a:pt x="-1993" y="28233"/>
                      <a:pt x="8482" y="34125"/>
                    </a:cubicBezTo>
                    <a:cubicBezTo>
                      <a:pt x="11886" y="36089"/>
                      <a:pt x="16207" y="38315"/>
                      <a:pt x="20004" y="39493"/>
                    </a:cubicBezTo>
                    <a:cubicBezTo>
                      <a:pt x="23015" y="40410"/>
                      <a:pt x="26027" y="40802"/>
                      <a:pt x="28907" y="41981"/>
                    </a:cubicBezTo>
                    <a:cubicBezTo>
                      <a:pt x="35323" y="44861"/>
                      <a:pt x="43048" y="37529"/>
                      <a:pt x="40953" y="30982"/>
                    </a:cubicBezTo>
                    <a:lnTo>
                      <a:pt x="40953" y="30982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íśļiḑé"/>
              <p:cNvSpPr/>
              <p:nvPr/>
            </p:nvSpPr>
            <p:spPr>
              <a:xfrm>
                <a:off x="8346233" y="1621827"/>
                <a:ext cx="50867" cy="44933"/>
              </a:xfrm>
              <a:custGeom>
                <a:avLst/>
                <a:gdLst>
                  <a:gd name="connsiteX0" fmla="*/ 49641 w 50867"/>
                  <a:gd name="connsiteY0" fmla="*/ 32163 h 44933"/>
                  <a:gd name="connsiteX1" fmla="*/ 40083 w 50867"/>
                  <a:gd name="connsiteY1" fmla="*/ 14618 h 44933"/>
                  <a:gd name="connsiteX2" fmla="*/ 12063 w 50867"/>
                  <a:gd name="connsiteY2" fmla="*/ 608 h 44933"/>
                  <a:gd name="connsiteX3" fmla="*/ 18 w 50867"/>
                  <a:gd name="connsiteY3" fmla="*/ 15273 h 44933"/>
                  <a:gd name="connsiteX4" fmla="*/ 5124 w 50867"/>
                  <a:gd name="connsiteY4" fmla="*/ 31246 h 44933"/>
                  <a:gd name="connsiteX5" fmla="*/ 20836 w 50867"/>
                  <a:gd name="connsiteY5" fmla="*/ 39888 h 44933"/>
                  <a:gd name="connsiteX6" fmla="*/ 39559 w 50867"/>
                  <a:gd name="connsiteY6" fmla="*/ 44601 h 44933"/>
                  <a:gd name="connsiteX7" fmla="*/ 49641 w 50867"/>
                  <a:gd name="connsiteY7" fmla="*/ 32163 h 44933"/>
                  <a:gd name="connsiteX8" fmla="*/ 49641 w 50867"/>
                  <a:gd name="connsiteY8" fmla="*/ 32163 h 4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867" h="44933">
                    <a:moveTo>
                      <a:pt x="49641" y="32163"/>
                    </a:moveTo>
                    <a:cubicBezTo>
                      <a:pt x="45582" y="26140"/>
                      <a:pt x="42571" y="19986"/>
                      <a:pt x="40083" y="14618"/>
                    </a:cubicBezTo>
                    <a:cubicBezTo>
                      <a:pt x="34846" y="3358"/>
                      <a:pt x="23978" y="-1880"/>
                      <a:pt x="12063" y="608"/>
                    </a:cubicBezTo>
                    <a:cubicBezTo>
                      <a:pt x="5909" y="1917"/>
                      <a:pt x="-375" y="8595"/>
                      <a:pt x="18" y="15273"/>
                    </a:cubicBezTo>
                    <a:cubicBezTo>
                      <a:pt x="410" y="21295"/>
                      <a:pt x="1065" y="26533"/>
                      <a:pt x="5124" y="31246"/>
                    </a:cubicBezTo>
                    <a:cubicBezTo>
                      <a:pt x="9183" y="35960"/>
                      <a:pt x="14813" y="38840"/>
                      <a:pt x="20836" y="39888"/>
                    </a:cubicBezTo>
                    <a:cubicBezTo>
                      <a:pt x="26335" y="40804"/>
                      <a:pt x="32881" y="42245"/>
                      <a:pt x="39559" y="44601"/>
                    </a:cubicBezTo>
                    <a:cubicBezTo>
                      <a:pt x="45974" y="46696"/>
                      <a:pt x="53962" y="38447"/>
                      <a:pt x="49641" y="32163"/>
                    </a:cubicBezTo>
                    <a:lnTo>
                      <a:pt x="49641" y="32163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îṥlíďè"/>
              <p:cNvSpPr/>
              <p:nvPr/>
            </p:nvSpPr>
            <p:spPr>
              <a:xfrm>
                <a:off x="8229913" y="1541630"/>
                <a:ext cx="39589" cy="41329"/>
              </a:xfrm>
              <a:custGeom>
                <a:avLst/>
                <a:gdLst>
                  <a:gd name="connsiteX0" fmla="*/ 38826 w 39589"/>
                  <a:gd name="connsiteY0" fmla="*/ 18089 h 41329"/>
                  <a:gd name="connsiteX1" fmla="*/ 31887 w 39589"/>
                  <a:gd name="connsiteY1" fmla="*/ 5912 h 41329"/>
                  <a:gd name="connsiteX2" fmla="*/ 9628 w 39589"/>
                  <a:gd name="connsiteY2" fmla="*/ 2115 h 41329"/>
                  <a:gd name="connsiteX3" fmla="*/ 332 w 39589"/>
                  <a:gd name="connsiteY3" fmla="*/ 22540 h 41329"/>
                  <a:gd name="connsiteX4" fmla="*/ 3343 w 39589"/>
                  <a:gd name="connsiteY4" fmla="*/ 31313 h 41329"/>
                  <a:gd name="connsiteX5" fmla="*/ 26911 w 39589"/>
                  <a:gd name="connsiteY5" fmla="*/ 40085 h 41329"/>
                  <a:gd name="connsiteX6" fmla="*/ 38826 w 39589"/>
                  <a:gd name="connsiteY6" fmla="*/ 18089 h 41329"/>
                  <a:gd name="connsiteX7" fmla="*/ 38826 w 39589"/>
                  <a:gd name="connsiteY7" fmla="*/ 18089 h 41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589" h="41329">
                    <a:moveTo>
                      <a:pt x="38826" y="18089"/>
                    </a:moveTo>
                    <a:cubicBezTo>
                      <a:pt x="37124" y="13375"/>
                      <a:pt x="35160" y="9709"/>
                      <a:pt x="31887" y="5912"/>
                    </a:cubicBezTo>
                    <a:cubicBezTo>
                      <a:pt x="26911" y="-111"/>
                      <a:pt x="16437" y="-1813"/>
                      <a:pt x="9628" y="2115"/>
                    </a:cubicBezTo>
                    <a:cubicBezTo>
                      <a:pt x="2165" y="6435"/>
                      <a:pt x="-1108" y="14160"/>
                      <a:pt x="332" y="22540"/>
                    </a:cubicBezTo>
                    <a:cubicBezTo>
                      <a:pt x="856" y="25682"/>
                      <a:pt x="1641" y="28563"/>
                      <a:pt x="3343" y="31313"/>
                    </a:cubicBezTo>
                    <a:cubicBezTo>
                      <a:pt x="8057" y="39692"/>
                      <a:pt x="17877" y="43489"/>
                      <a:pt x="26911" y="40085"/>
                    </a:cubicBezTo>
                    <a:cubicBezTo>
                      <a:pt x="34898" y="37073"/>
                      <a:pt x="41968" y="26992"/>
                      <a:pt x="38826" y="18089"/>
                    </a:cubicBezTo>
                    <a:lnTo>
                      <a:pt x="38826" y="18089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iṩḻïďé"/>
              <p:cNvSpPr/>
              <p:nvPr/>
            </p:nvSpPr>
            <p:spPr>
              <a:xfrm>
                <a:off x="8771463" y="2149213"/>
                <a:ext cx="33472" cy="34973"/>
              </a:xfrm>
              <a:custGeom>
                <a:avLst/>
                <a:gdLst>
                  <a:gd name="connsiteX0" fmla="*/ 19303 w 33472"/>
                  <a:gd name="connsiteY0" fmla="*/ 33744 h 34973"/>
                  <a:gd name="connsiteX1" fmla="*/ 21922 w 33472"/>
                  <a:gd name="connsiteY1" fmla="*/ 32827 h 34973"/>
                  <a:gd name="connsiteX2" fmla="*/ 23100 w 33472"/>
                  <a:gd name="connsiteY2" fmla="*/ 2975 h 34973"/>
                  <a:gd name="connsiteX3" fmla="*/ 20613 w 33472"/>
                  <a:gd name="connsiteY3" fmla="*/ 1797 h 34973"/>
                  <a:gd name="connsiteX4" fmla="*/ 19303 w 33472"/>
                  <a:gd name="connsiteY4" fmla="*/ 33744 h 34973"/>
                  <a:gd name="connsiteX5" fmla="*/ 19303 w 33472"/>
                  <a:gd name="connsiteY5" fmla="*/ 33744 h 349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3472" h="34973">
                    <a:moveTo>
                      <a:pt x="19303" y="33744"/>
                    </a:moveTo>
                    <a:cubicBezTo>
                      <a:pt x="20220" y="33482"/>
                      <a:pt x="21005" y="33089"/>
                      <a:pt x="21922" y="32827"/>
                    </a:cubicBezTo>
                    <a:cubicBezTo>
                      <a:pt x="36717" y="27328"/>
                      <a:pt x="37503" y="9653"/>
                      <a:pt x="23100" y="2975"/>
                    </a:cubicBezTo>
                    <a:cubicBezTo>
                      <a:pt x="22315" y="2582"/>
                      <a:pt x="21398" y="2189"/>
                      <a:pt x="20613" y="1797"/>
                    </a:cubicBezTo>
                    <a:cubicBezTo>
                      <a:pt x="-5443" y="-10380"/>
                      <a:pt x="-7799" y="43695"/>
                      <a:pt x="19303" y="33744"/>
                    </a:cubicBezTo>
                    <a:lnTo>
                      <a:pt x="19303" y="33744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ïšḻiḍè"/>
              <p:cNvSpPr/>
              <p:nvPr/>
            </p:nvSpPr>
            <p:spPr>
              <a:xfrm>
                <a:off x="8510694" y="2197797"/>
                <a:ext cx="32037" cy="45313"/>
              </a:xfrm>
              <a:custGeom>
                <a:avLst/>
                <a:gdLst>
                  <a:gd name="connsiteX0" fmla="*/ 8 w 32037"/>
                  <a:gd name="connsiteY0" fmla="*/ 13310 h 45313"/>
                  <a:gd name="connsiteX1" fmla="*/ 6816 w 32037"/>
                  <a:gd name="connsiteY1" fmla="*/ 40806 h 45313"/>
                  <a:gd name="connsiteX2" fmla="*/ 18600 w 32037"/>
                  <a:gd name="connsiteY2" fmla="*/ 45257 h 45313"/>
                  <a:gd name="connsiteX3" fmla="*/ 29205 w 32037"/>
                  <a:gd name="connsiteY3" fmla="*/ 38841 h 45313"/>
                  <a:gd name="connsiteX4" fmla="*/ 31300 w 32037"/>
                  <a:gd name="connsiteY4" fmla="*/ 21296 h 45313"/>
                  <a:gd name="connsiteX5" fmla="*/ 27634 w 32037"/>
                  <a:gd name="connsiteY5" fmla="*/ 10691 h 45313"/>
                  <a:gd name="connsiteX6" fmla="*/ 12708 w 32037"/>
                  <a:gd name="connsiteY6" fmla="*/ 85 h 45313"/>
                  <a:gd name="connsiteX7" fmla="*/ 8 w 32037"/>
                  <a:gd name="connsiteY7" fmla="*/ 13310 h 45313"/>
                  <a:gd name="connsiteX8" fmla="*/ 8 w 32037"/>
                  <a:gd name="connsiteY8" fmla="*/ 13310 h 45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2037" h="45313">
                    <a:moveTo>
                      <a:pt x="8" y="13310"/>
                    </a:moveTo>
                    <a:cubicBezTo>
                      <a:pt x="400" y="22344"/>
                      <a:pt x="-647" y="34128"/>
                      <a:pt x="6816" y="40806"/>
                    </a:cubicBezTo>
                    <a:cubicBezTo>
                      <a:pt x="10351" y="43948"/>
                      <a:pt x="13886" y="45650"/>
                      <a:pt x="18600" y="45257"/>
                    </a:cubicBezTo>
                    <a:cubicBezTo>
                      <a:pt x="22659" y="44865"/>
                      <a:pt x="27372" y="42770"/>
                      <a:pt x="29205" y="38841"/>
                    </a:cubicBezTo>
                    <a:cubicBezTo>
                      <a:pt x="32086" y="33211"/>
                      <a:pt x="32741" y="27581"/>
                      <a:pt x="31300" y="21296"/>
                    </a:cubicBezTo>
                    <a:cubicBezTo>
                      <a:pt x="30384" y="17761"/>
                      <a:pt x="28812" y="14226"/>
                      <a:pt x="27634" y="10691"/>
                    </a:cubicBezTo>
                    <a:cubicBezTo>
                      <a:pt x="25277" y="4014"/>
                      <a:pt x="20040" y="-700"/>
                      <a:pt x="12708" y="85"/>
                    </a:cubicBezTo>
                    <a:cubicBezTo>
                      <a:pt x="6292" y="609"/>
                      <a:pt x="-255" y="6239"/>
                      <a:pt x="8" y="13310"/>
                    </a:cubicBezTo>
                    <a:lnTo>
                      <a:pt x="8" y="13310"/>
                    </a:lnTo>
                    <a:close/>
                  </a:path>
                </a:pathLst>
              </a:custGeom>
              <a:solidFill>
                <a:srgbClr val="FFFFFF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9" name="图形 7"/>
            <p:cNvGrpSpPr/>
            <p:nvPr/>
          </p:nvGrpSpPr>
          <p:grpSpPr>
            <a:xfrm>
              <a:off x="8383828" y="518458"/>
              <a:ext cx="460488" cy="328474"/>
              <a:chOff x="8383828" y="518458"/>
              <a:chExt cx="460488" cy="328474"/>
            </a:xfrm>
            <a:solidFill>
              <a:schemeClr val="accent1"/>
            </a:solidFill>
          </p:grpSpPr>
          <p:sp>
            <p:nvSpPr>
              <p:cNvPr id="27" name="iṡlïdé"/>
              <p:cNvSpPr/>
              <p:nvPr/>
            </p:nvSpPr>
            <p:spPr>
              <a:xfrm>
                <a:off x="8392863" y="518458"/>
                <a:ext cx="447264" cy="222136"/>
              </a:xfrm>
              <a:custGeom>
                <a:avLst/>
                <a:gdLst>
                  <a:gd name="connsiteX0" fmla="*/ 447265 w 447264"/>
                  <a:gd name="connsiteY0" fmla="*/ 34653 h 222136"/>
                  <a:gd name="connsiteX1" fmla="*/ 0 w 447264"/>
                  <a:gd name="connsiteY1" fmla="*/ 187058 h 222136"/>
                  <a:gd name="connsiteX2" fmla="*/ 447265 w 447264"/>
                  <a:gd name="connsiteY2" fmla="*/ 34653 h 222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47264" h="222136">
                    <a:moveTo>
                      <a:pt x="447265" y="34653"/>
                    </a:moveTo>
                    <a:cubicBezTo>
                      <a:pt x="127266" y="-96541"/>
                      <a:pt x="0" y="187058"/>
                      <a:pt x="0" y="187058"/>
                    </a:cubicBezTo>
                    <a:cubicBezTo>
                      <a:pt x="0" y="187058"/>
                      <a:pt x="281505" y="331345"/>
                      <a:pt x="447265" y="34653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" name="iṣ1ide"/>
              <p:cNvSpPr/>
              <p:nvPr/>
            </p:nvSpPr>
            <p:spPr>
              <a:xfrm>
                <a:off x="8383828" y="634350"/>
                <a:ext cx="460488" cy="212583"/>
              </a:xfrm>
              <a:custGeom>
                <a:avLst/>
                <a:gdLst>
                  <a:gd name="connsiteX0" fmla="*/ 460489 w 460488"/>
                  <a:gd name="connsiteY0" fmla="*/ 159153 h 212583"/>
                  <a:gd name="connsiteX1" fmla="*/ 0 w 460488"/>
                  <a:gd name="connsiteY1" fmla="*/ 53622 h 212583"/>
                  <a:gd name="connsiteX2" fmla="*/ 460489 w 460488"/>
                  <a:gd name="connsiteY2" fmla="*/ 159153 h 212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0488" h="212583">
                    <a:moveTo>
                      <a:pt x="460489" y="159153"/>
                    </a:moveTo>
                    <a:cubicBezTo>
                      <a:pt x="257151" y="-120649"/>
                      <a:pt x="0" y="53622"/>
                      <a:pt x="0" y="53622"/>
                    </a:cubicBezTo>
                    <a:cubicBezTo>
                      <a:pt x="0" y="53622"/>
                      <a:pt x="163534" y="324390"/>
                      <a:pt x="460489" y="159153"/>
                    </a:cubicBezTo>
                    <a:close/>
                  </a:path>
                </a:pathLst>
              </a:custGeom>
              <a:solidFill>
                <a:srgbClr val="006ED1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20" name="图形 7"/>
            <p:cNvGrpSpPr/>
            <p:nvPr/>
          </p:nvGrpSpPr>
          <p:grpSpPr>
            <a:xfrm>
              <a:off x="6487809" y="-2078235"/>
              <a:ext cx="441426" cy="633450"/>
              <a:chOff x="6487809" y="-2078235"/>
              <a:chExt cx="441426" cy="633450"/>
            </a:xfrm>
            <a:solidFill>
              <a:schemeClr val="accent1"/>
            </a:solidFill>
          </p:grpSpPr>
          <p:sp>
            <p:nvSpPr>
              <p:cNvPr id="25" name="íšļíďé"/>
              <p:cNvSpPr/>
              <p:nvPr/>
            </p:nvSpPr>
            <p:spPr>
              <a:xfrm>
                <a:off x="6487809" y="-2078235"/>
                <a:ext cx="272836" cy="626511"/>
              </a:xfrm>
              <a:custGeom>
                <a:avLst/>
                <a:gdLst>
                  <a:gd name="connsiteX0" fmla="*/ 99366 w 272836"/>
                  <a:gd name="connsiteY0" fmla="*/ 0 h 626511"/>
                  <a:gd name="connsiteX1" fmla="*/ 173343 w 272836"/>
                  <a:gd name="connsiteY1" fmla="*/ 626511 h 626511"/>
                  <a:gd name="connsiteX2" fmla="*/ 99366 w 272836"/>
                  <a:gd name="connsiteY2" fmla="*/ 0 h 626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2836" h="626511">
                    <a:moveTo>
                      <a:pt x="99366" y="0"/>
                    </a:moveTo>
                    <a:cubicBezTo>
                      <a:pt x="-161320" y="381144"/>
                      <a:pt x="173343" y="626511"/>
                      <a:pt x="173343" y="626511"/>
                    </a:cubicBezTo>
                    <a:cubicBezTo>
                      <a:pt x="173343" y="626511"/>
                      <a:pt x="440445" y="299311"/>
                      <a:pt x="99366" y="0"/>
                    </a:cubicBezTo>
                    <a:close/>
                  </a:path>
                </a:pathLst>
              </a:custGeom>
              <a:solidFill>
                <a:srgbClr val="009EE3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" name="išľíḓé"/>
              <p:cNvSpPr/>
              <p:nvPr/>
            </p:nvSpPr>
            <p:spPr>
              <a:xfrm>
                <a:off x="6607578" y="-2016566"/>
                <a:ext cx="321657" cy="571781"/>
              </a:xfrm>
              <a:custGeom>
                <a:avLst/>
                <a:gdLst>
                  <a:gd name="connsiteX0" fmla="*/ 294620 w 321657"/>
                  <a:gd name="connsiteY0" fmla="*/ 0 h 571781"/>
                  <a:gd name="connsiteX1" fmla="*/ 28042 w 321657"/>
                  <a:gd name="connsiteY1" fmla="*/ 571782 h 571781"/>
                  <a:gd name="connsiteX2" fmla="*/ 294620 w 321657"/>
                  <a:gd name="connsiteY2" fmla="*/ 0 h 571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1657" h="571781">
                    <a:moveTo>
                      <a:pt x="294620" y="0"/>
                    </a:moveTo>
                    <a:cubicBezTo>
                      <a:pt x="-127636" y="187102"/>
                      <a:pt x="28042" y="571782"/>
                      <a:pt x="28042" y="571782"/>
                    </a:cubicBezTo>
                    <a:cubicBezTo>
                      <a:pt x="28042" y="571782"/>
                      <a:pt x="427386" y="433910"/>
                      <a:pt x="294620" y="0"/>
                    </a:cubicBezTo>
                    <a:close/>
                  </a:path>
                </a:pathLst>
              </a:custGeom>
              <a:solidFill>
                <a:srgbClr val="006ED1"/>
              </a:solidFill>
              <a:ln w="130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21" name="iṩ1íḋe"/>
            <p:cNvSpPr/>
            <p:nvPr/>
          </p:nvSpPr>
          <p:spPr>
            <a:xfrm>
              <a:off x="4238510" y="1788582"/>
              <a:ext cx="358361" cy="193222"/>
            </a:xfrm>
            <a:custGeom>
              <a:avLst/>
              <a:gdLst>
                <a:gd name="connsiteX0" fmla="*/ 358362 w 358361"/>
                <a:gd name="connsiteY0" fmla="*/ 18860 h 193222"/>
                <a:gd name="connsiteX1" fmla="*/ 0 w 358361"/>
                <a:gd name="connsiteY1" fmla="*/ 173753 h 193222"/>
                <a:gd name="connsiteX2" fmla="*/ 358362 w 358361"/>
                <a:gd name="connsiteY2" fmla="*/ 18860 h 193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8361" h="193222">
                  <a:moveTo>
                    <a:pt x="358362" y="18860"/>
                  </a:moveTo>
                  <a:cubicBezTo>
                    <a:pt x="86154" y="-68079"/>
                    <a:pt x="0" y="173753"/>
                    <a:pt x="0" y="173753"/>
                  </a:cubicBezTo>
                  <a:cubicBezTo>
                    <a:pt x="0" y="173753"/>
                    <a:pt x="241308" y="274178"/>
                    <a:pt x="358362" y="18860"/>
                  </a:cubicBezTo>
                  <a:close/>
                </a:path>
              </a:pathLst>
            </a:custGeom>
            <a:solidFill>
              <a:srgbClr val="009EE3"/>
            </a:solidFill>
            <a:ln w="130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îśḷide"/>
            <p:cNvSpPr/>
            <p:nvPr/>
          </p:nvSpPr>
          <p:spPr>
            <a:xfrm>
              <a:off x="7131068" y="-2078366"/>
              <a:ext cx="191684" cy="191684"/>
            </a:xfrm>
            <a:custGeom>
              <a:avLst/>
              <a:gdLst>
                <a:gd name="connsiteX0" fmla="*/ 191685 w 191684"/>
                <a:gd name="connsiteY0" fmla="*/ 95842 h 191684"/>
                <a:gd name="connsiteX1" fmla="*/ 95842 w 191684"/>
                <a:gd name="connsiteY1" fmla="*/ 191685 h 191684"/>
                <a:gd name="connsiteX2" fmla="*/ 0 w 191684"/>
                <a:gd name="connsiteY2" fmla="*/ 95842 h 191684"/>
                <a:gd name="connsiteX3" fmla="*/ 95842 w 191684"/>
                <a:gd name="connsiteY3" fmla="*/ 0 h 191684"/>
                <a:gd name="connsiteX4" fmla="*/ 191685 w 191684"/>
                <a:gd name="connsiteY4" fmla="*/ 95842 h 191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1684" h="191684">
                  <a:moveTo>
                    <a:pt x="191685" y="95842"/>
                  </a:moveTo>
                  <a:cubicBezTo>
                    <a:pt x="191685" y="148775"/>
                    <a:pt x="148775" y="191685"/>
                    <a:pt x="95842" y="191685"/>
                  </a:cubicBezTo>
                  <a:cubicBezTo>
                    <a:pt x="42910" y="191685"/>
                    <a:pt x="0" y="148775"/>
                    <a:pt x="0" y="95842"/>
                  </a:cubicBezTo>
                  <a:cubicBezTo>
                    <a:pt x="0" y="42910"/>
                    <a:pt x="42910" y="0"/>
                    <a:pt x="95842" y="0"/>
                  </a:cubicBezTo>
                  <a:cubicBezTo>
                    <a:pt x="148775" y="0"/>
                    <a:pt x="191685" y="42910"/>
                    <a:pt x="191685" y="95842"/>
                  </a:cubicBezTo>
                  <a:close/>
                </a:path>
              </a:pathLst>
            </a:custGeom>
            <a:solidFill>
              <a:srgbClr val="4545DD"/>
            </a:solidFill>
            <a:ln w="130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íṣľïḋe"/>
            <p:cNvSpPr/>
            <p:nvPr/>
          </p:nvSpPr>
          <p:spPr>
            <a:xfrm>
              <a:off x="4657232" y="-1690017"/>
              <a:ext cx="254532" cy="206771"/>
            </a:xfrm>
            <a:custGeom>
              <a:avLst/>
              <a:gdLst>
                <a:gd name="connsiteX0" fmla="*/ 254532 w 254532"/>
                <a:gd name="connsiteY0" fmla="*/ 206215 h 206771"/>
                <a:gd name="connsiteX1" fmla="*/ 0 w 254532"/>
                <a:gd name="connsiteY1" fmla="*/ 1306 h 206771"/>
                <a:gd name="connsiteX2" fmla="*/ 254532 w 254532"/>
                <a:gd name="connsiteY2" fmla="*/ 206215 h 206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4532" h="206771">
                  <a:moveTo>
                    <a:pt x="254532" y="206215"/>
                  </a:moveTo>
                  <a:cubicBezTo>
                    <a:pt x="212765" y="-29332"/>
                    <a:pt x="0" y="1306"/>
                    <a:pt x="0" y="1306"/>
                  </a:cubicBezTo>
                  <a:cubicBezTo>
                    <a:pt x="0" y="1306"/>
                    <a:pt x="19771" y="219177"/>
                    <a:pt x="254532" y="206215"/>
                  </a:cubicBezTo>
                  <a:close/>
                </a:path>
              </a:pathLst>
            </a:custGeom>
            <a:solidFill>
              <a:srgbClr val="009EE3"/>
            </a:solidFill>
            <a:ln w="130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íSlïḑe"/>
            <p:cNvSpPr/>
            <p:nvPr/>
          </p:nvSpPr>
          <p:spPr>
            <a:xfrm>
              <a:off x="7963928" y="2218078"/>
              <a:ext cx="300227" cy="243888"/>
            </a:xfrm>
            <a:custGeom>
              <a:avLst/>
              <a:gdLst>
                <a:gd name="connsiteX0" fmla="*/ 300228 w 300227"/>
                <a:gd name="connsiteY0" fmla="*/ 243241 h 243888"/>
                <a:gd name="connsiteX1" fmla="*/ 0 w 300227"/>
                <a:gd name="connsiteY1" fmla="*/ 1540 h 243888"/>
                <a:gd name="connsiteX2" fmla="*/ 300228 w 300227"/>
                <a:gd name="connsiteY2" fmla="*/ 243241 h 243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0227" h="243888">
                  <a:moveTo>
                    <a:pt x="300228" y="243241"/>
                  </a:moveTo>
                  <a:cubicBezTo>
                    <a:pt x="250997" y="-34597"/>
                    <a:pt x="0" y="1540"/>
                    <a:pt x="0" y="1540"/>
                  </a:cubicBezTo>
                  <a:cubicBezTo>
                    <a:pt x="0" y="1540"/>
                    <a:pt x="23437" y="258429"/>
                    <a:pt x="300228" y="243241"/>
                  </a:cubicBezTo>
                  <a:close/>
                </a:path>
              </a:pathLst>
            </a:custGeom>
            <a:solidFill>
              <a:srgbClr val="009EE3"/>
            </a:solidFill>
            <a:ln w="130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2000783"/>
            <a:ext cx="627980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1" y="5697721"/>
            <a:ext cx="627980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3" y="5401450"/>
            <a:ext cx="627980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hemeOverride" Target="../theme/themeOverride1.xml"/><Relationship Id="rId4" Type="http://schemas.openxmlformats.org/officeDocument/2006/relationships/tags" Target="../tags/tag2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6.xml"/><Relationship Id="rId5" Type="http://schemas.openxmlformats.org/officeDocument/2006/relationships/themeOverride" Target="../theme/themeOverride3.xml"/><Relationship Id="rId4" Type="http://schemas.openxmlformats.org/officeDocument/2006/relationships/tags" Target="../tags/tag4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íŝ1î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iSḻïdè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iŝ1ïḑè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ŝlîḓe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ïṧļiďé"/>
          <p:cNvSpPr>
            <a:spLocks noGrp="1"/>
          </p:cNvSpPr>
          <p:nvPr>
            <p:ph type="ctrTitle"/>
          </p:nvPr>
        </p:nvSpPr>
        <p:spPr>
          <a:xfrm>
            <a:off x="4493942" y="2238888"/>
            <a:ext cx="7698058" cy="702665"/>
          </a:xfrm>
        </p:spPr>
        <p:txBody>
          <a:bodyPr anchor="t">
            <a:noAutofit/>
          </a:bodyPr>
          <a:lstStyle/>
          <a:p>
            <a:pPr algn="l"/>
            <a:r>
              <a:rPr lang="zh-CN" altLang="en-US" sz="4800" dirty="0"/>
              <a:t>疫情期间如何进行心理调节</a:t>
            </a:r>
            <a:endParaRPr lang="zh-CN" altLang="en-US" sz="4800" dirty="0"/>
          </a:p>
        </p:txBody>
      </p:sp>
      <p:sp>
        <p:nvSpPr>
          <p:cNvPr id="6" name="íš1ïḍe"/>
          <p:cNvSpPr>
            <a:spLocks noGrp="1"/>
          </p:cNvSpPr>
          <p:nvPr>
            <p:ph type="body" sz="quarter" idx="10"/>
          </p:nvPr>
        </p:nvSpPr>
        <p:spPr>
          <a:xfrm>
            <a:off x="5692617" y="5523612"/>
            <a:ext cx="5932902" cy="296271"/>
          </a:xfrm>
        </p:spPr>
        <p:txBody>
          <a:bodyPr/>
          <a:lstStyle/>
          <a:p>
            <a:r>
              <a:rPr lang="zh-CN" altLang="en-US" sz="2400" b="1" dirty="0">
                <a:solidFill>
                  <a:schemeClr val="accent1">
                    <a:lumMod val="50000"/>
                    <a:lumOff val="50000"/>
                  </a:schemeClr>
                </a:solidFill>
              </a:rPr>
              <a:t>苏永娥</a:t>
            </a:r>
            <a:endParaRPr lang="en-US" altLang="zh-CN" sz="2400" b="1" dirty="0">
              <a:solidFill>
                <a:schemeClr val="accent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74" name="îş1îḑé"/>
          <p:cNvSpPr txBox="1"/>
          <p:nvPr/>
        </p:nvSpPr>
        <p:spPr>
          <a:xfrm>
            <a:off x="6669315" y="4026775"/>
            <a:ext cx="531427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zh-CN" altLang="en-US" sz="4000" dirty="0">
                <a:solidFill>
                  <a:schemeClr val="accent1">
                    <a:lumMod val="50000"/>
                    <a:lumOff val="50000"/>
                  </a:schemeClr>
                </a:solidFill>
              </a:rPr>
              <a:t>众志成城，共抗疫情！</a:t>
            </a:r>
            <a:endParaRPr lang="zh-CN" altLang="en-US" sz="4000" dirty="0">
              <a:solidFill>
                <a:schemeClr val="accent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13" name="iṧḻiḑe"/>
          <p:cNvGrpSpPr/>
          <p:nvPr/>
        </p:nvGrpSpPr>
        <p:grpSpPr>
          <a:xfrm>
            <a:off x="9317736" y="810543"/>
            <a:ext cx="2084688" cy="653162"/>
            <a:chOff x="5123032" y="2373367"/>
            <a:chExt cx="2801768" cy="877833"/>
          </a:xfrm>
        </p:grpSpPr>
        <p:sp>
          <p:nvSpPr>
            <p:cNvPr id="14" name="íślidè"/>
            <p:cNvSpPr>
              <a:spLocks noChangeAspect="1"/>
            </p:cNvSpPr>
            <p:nvPr/>
          </p:nvSpPr>
          <p:spPr bwMode="auto">
            <a:xfrm>
              <a:off x="5123032" y="2373367"/>
              <a:ext cx="604667" cy="779836"/>
            </a:xfrm>
            <a:custGeom>
              <a:avLst/>
              <a:gdLst>
                <a:gd name="T0" fmla="*/ 1658 w 3066"/>
                <a:gd name="T1" fmla="*/ 1409 h 3960"/>
                <a:gd name="T2" fmla="*/ 2200 w 3066"/>
                <a:gd name="T3" fmla="*/ 1482 h 3960"/>
                <a:gd name="T4" fmla="*/ 2799 w 3066"/>
                <a:gd name="T5" fmla="*/ 1713 h 3960"/>
                <a:gd name="T6" fmla="*/ 2451 w 3066"/>
                <a:gd name="T7" fmla="*/ 2548 h 3960"/>
                <a:gd name="T8" fmla="*/ 2162 w 3066"/>
                <a:gd name="T9" fmla="*/ 2681 h 3960"/>
                <a:gd name="T10" fmla="*/ 2295 w 3066"/>
                <a:gd name="T11" fmla="*/ 3960 h 3960"/>
                <a:gd name="T12" fmla="*/ 2429 w 3066"/>
                <a:gd name="T13" fmla="*/ 2815 h 3960"/>
                <a:gd name="T14" fmla="*/ 3066 w 3066"/>
                <a:gd name="T15" fmla="*/ 2200 h 3960"/>
                <a:gd name="T16" fmla="*/ 2715 w 3066"/>
                <a:gd name="T17" fmla="*/ 212 h 3960"/>
                <a:gd name="T18" fmla="*/ 2407 w 3066"/>
                <a:gd name="T19" fmla="*/ 229 h 3960"/>
                <a:gd name="T20" fmla="*/ 1876 w 3066"/>
                <a:gd name="T21" fmla="*/ 0 h 3960"/>
                <a:gd name="T22" fmla="*/ 1441 w 3066"/>
                <a:gd name="T23" fmla="*/ 0 h 3960"/>
                <a:gd name="T24" fmla="*/ 1021 w 3066"/>
                <a:gd name="T25" fmla="*/ 76 h 3960"/>
                <a:gd name="T26" fmla="*/ 602 w 3066"/>
                <a:gd name="T27" fmla="*/ 0 h 3960"/>
                <a:gd name="T28" fmla="*/ 251 w 3066"/>
                <a:gd name="T29" fmla="*/ 1076 h 3960"/>
                <a:gd name="T30" fmla="*/ 0 w 3066"/>
                <a:gd name="T31" fmla="*/ 1614 h 3960"/>
                <a:gd name="T32" fmla="*/ 244 w 3066"/>
                <a:gd name="T33" fmla="*/ 2182 h 3960"/>
                <a:gd name="T34" fmla="*/ 888 w 3066"/>
                <a:gd name="T35" fmla="*/ 3827 h 3960"/>
                <a:gd name="T36" fmla="*/ 1155 w 3066"/>
                <a:gd name="T37" fmla="*/ 3827 h 3960"/>
                <a:gd name="T38" fmla="*/ 1021 w 3066"/>
                <a:gd name="T39" fmla="*/ 2548 h 3960"/>
                <a:gd name="T40" fmla="*/ 504 w 3066"/>
                <a:gd name="T41" fmla="*/ 2124 h 3960"/>
                <a:gd name="T42" fmla="*/ 1089 w 3066"/>
                <a:gd name="T43" fmla="*/ 1965 h 3960"/>
                <a:gd name="T44" fmla="*/ 1525 w 3066"/>
                <a:gd name="T45" fmla="*/ 2044 h 3960"/>
                <a:gd name="T46" fmla="*/ 1658 w 3066"/>
                <a:gd name="T47" fmla="*/ 2602 h 3960"/>
                <a:gd name="T48" fmla="*/ 1792 w 3066"/>
                <a:gd name="T49" fmla="*/ 2044 h 3960"/>
                <a:gd name="T50" fmla="*/ 1541 w 3066"/>
                <a:gd name="T51" fmla="*/ 1494 h 3960"/>
                <a:gd name="T52" fmla="*/ 804 w 3066"/>
                <a:gd name="T53" fmla="*/ 267 h 3960"/>
                <a:gd name="T54" fmla="*/ 888 w 3066"/>
                <a:gd name="T55" fmla="*/ 1062 h 3960"/>
                <a:gd name="T56" fmla="*/ 518 w 3066"/>
                <a:gd name="T57" fmla="*/ 351 h 3960"/>
                <a:gd name="T58" fmla="*/ 1089 w 3066"/>
                <a:gd name="T59" fmla="*/ 1699 h 3960"/>
                <a:gd name="T60" fmla="*/ 267 w 3066"/>
                <a:gd name="T61" fmla="*/ 1614 h 3960"/>
                <a:gd name="T62" fmla="*/ 351 w 3066"/>
                <a:gd name="T63" fmla="*/ 1328 h 3960"/>
                <a:gd name="T64" fmla="*/ 1274 w 3066"/>
                <a:gd name="T65" fmla="*/ 1513 h 3960"/>
                <a:gd name="T66" fmla="*/ 1155 w 3066"/>
                <a:gd name="T67" fmla="*/ 1067 h 3960"/>
                <a:gd name="T68" fmla="*/ 1239 w 3066"/>
                <a:gd name="T69" fmla="*/ 267 h 3960"/>
                <a:gd name="T70" fmla="*/ 1525 w 3066"/>
                <a:gd name="T71" fmla="*/ 351 h 3960"/>
                <a:gd name="T72" fmla="*/ 1448 w 3066"/>
                <a:gd name="T73" fmla="*/ 1239 h 3960"/>
                <a:gd name="T74" fmla="*/ 1977 w 3066"/>
                <a:gd name="T75" fmla="*/ 1274 h 3960"/>
                <a:gd name="T76" fmla="*/ 1792 w 3066"/>
                <a:gd name="T77" fmla="*/ 351 h 3960"/>
                <a:gd name="T78" fmla="*/ 2078 w 3066"/>
                <a:gd name="T79" fmla="*/ 267 h 3960"/>
                <a:gd name="T80" fmla="*/ 2162 w 3066"/>
                <a:gd name="T81" fmla="*/ 1089 h 3960"/>
                <a:gd name="T82" fmla="*/ 2614 w 3066"/>
                <a:gd name="T83" fmla="*/ 1486 h 3960"/>
                <a:gd name="T84" fmla="*/ 2429 w 3066"/>
                <a:gd name="T85" fmla="*/ 563 h 3960"/>
                <a:gd name="T86" fmla="*/ 2715 w 3066"/>
                <a:gd name="T87" fmla="*/ 479 h 3960"/>
                <a:gd name="T88" fmla="*/ 2799 w 3066"/>
                <a:gd name="T89" fmla="*/ 1301 h 3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066" h="3960">
                  <a:moveTo>
                    <a:pt x="1541" y="1494"/>
                  </a:moveTo>
                  <a:cubicBezTo>
                    <a:pt x="1584" y="1472"/>
                    <a:pt x="1624" y="1443"/>
                    <a:pt x="1658" y="1409"/>
                  </a:cubicBezTo>
                  <a:cubicBezTo>
                    <a:pt x="1740" y="1490"/>
                    <a:pt x="1853" y="1541"/>
                    <a:pt x="1977" y="1541"/>
                  </a:cubicBezTo>
                  <a:cubicBezTo>
                    <a:pt x="2058" y="1541"/>
                    <a:pt x="2134" y="1519"/>
                    <a:pt x="2200" y="1482"/>
                  </a:cubicBezTo>
                  <a:cubicBezTo>
                    <a:pt x="2270" y="1641"/>
                    <a:pt x="2429" y="1753"/>
                    <a:pt x="2614" y="1753"/>
                  </a:cubicBezTo>
                  <a:cubicBezTo>
                    <a:pt x="2680" y="1753"/>
                    <a:pt x="2743" y="1739"/>
                    <a:pt x="2799" y="1713"/>
                  </a:cubicBezTo>
                  <a:lnTo>
                    <a:pt x="2799" y="2200"/>
                  </a:lnTo>
                  <a:cubicBezTo>
                    <a:pt x="2799" y="2392"/>
                    <a:pt x="2643" y="2548"/>
                    <a:pt x="2451" y="2548"/>
                  </a:cubicBezTo>
                  <a:lnTo>
                    <a:pt x="2295" y="2548"/>
                  </a:lnTo>
                  <a:cubicBezTo>
                    <a:pt x="2222" y="2548"/>
                    <a:pt x="2162" y="2608"/>
                    <a:pt x="2162" y="2681"/>
                  </a:cubicBezTo>
                  <a:lnTo>
                    <a:pt x="2162" y="3827"/>
                  </a:lnTo>
                  <a:cubicBezTo>
                    <a:pt x="2162" y="3900"/>
                    <a:pt x="2222" y="3960"/>
                    <a:pt x="2295" y="3960"/>
                  </a:cubicBezTo>
                  <a:cubicBezTo>
                    <a:pt x="2369" y="3960"/>
                    <a:pt x="2429" y="3900"/>
                    <a:pt x="2429" y="3827"/>
                  </a:cubicBezTo>
                  <a:lnTo>
                    <a:pt x="2429" y="2815"/>
                  </a:lnTo>
                  <a:lnTo>
                    <a:pt x="2451" y="2815"/>
                  </a:lnTo>
                  <a:cubicBezTo>
                    <a:pt x="2790" y="2815"/>
                    <a:pt x="3066" y="2539"/>
                    <a:pt x="3066" y="2200"/>
                  </a:cubicBezTo>
                  <a:lnTo>
                    <a:pt x="3066" y="563"/>
                  </a:lnTo>
                  <a:cubicBezTo>
                    <a:pt x="3066" y="370"/>
                    <a:pt x="2908" y="212"/>
                    <a:pt x="2715" y="212"/>
                  </a:cubicBezTo>
                  <a:lnTo>
                    <a:pt x="2513" y="212"/>
                  </a:lnTo>
                  <a:cubicBezTo>
                    <a:pt x="2476" y="212"/>
                    <a:pt x="2440" y="218"/>
                    <a:pt x="2407" y="229"/>
                  </a:cubicBezTo>
                  <a:cubicBezTo>
                    <a:pt x="2357" y="95"/>
                    <a:pt x="2228" y="0"/>
                    <a:pt x="2078" y="0"/>
                  </a:cubicBezTo>
                  <a:lnTo>
                    <a:pt x="1876" y="0"/>
                  </a:lnTo>
                  <a:cubicBezTo>
                    <a:pt x="1794" y="0"/>
                    <a:pt x="1718" y="28"/>
                    <a:pt x="1658" y="76"/>
                  </a:cubicBezTo>
                  <a:cubicBezTo>
                    <a:pt x="1599" y="28"/>
                    <a:pt x="1523" y="0"/>
                    <a:pt x="1441" y="0"/>
                  </a:cubicBezTo>
                  <a:lnTo>
                    <a:pt x="1239" y="0"/>
                  </a:lnTo>
                  <a:cubicBezTo>
                    <a:pt x="1157" y="0"/>
                    <a:pt x="1081" y="28"/>
                    <a:pt x="1021" y="76"/>
                  </a:cubicBezTo>
                  <a:cubicBezTo>
                    <a:pt x="962" y="28"/>
                    <a:pt x="886" y="0"/>
                    <a:pt x="804" y="0"/>
                  </a:cubicBezTo>
                  <a:lnTo>
                    <a:pt x="602" y="0"/>
                  </a:lnTo>
                  <a:cubicBezTo>
                    <a:pt x="409" y="0"/>
                    <a:pt x="251" y="157"/>
                    <a:pt x="251" y="351"/>
                  </a:cubicBezTo>
                  <a:lnTo>
                    <a:pt x="251" y="1076"/>
                  </a:lnTo>
                  <a:cubicBezTo>
                    <a:pt x="106" y="1119"/>
                    <a:pt x="0" y="1254"/>
                    <a:pt x="0" y="1413"/>
                  </a:cubicBezTo>
                  <a:lnTo>
                    <a:pt x="0" y="1614"/>
                  </a:lnTo>
                  <a:cubicBezTo>
                    <a:pt x="0" y="1748"/>
                    <a:pt x="76" y="1865"/>
                    <a:pt x="187" y="1924"/>
                  </a:cubicBezTo>
                  <a:cubicBezTo>
                    <a:pt x="187" y="1924"/>
                    <a:pt x="230" y="2118"/>
                    <a:pt x="244" y="2182"/>
                  </a:cubicBezTo>
                  <a:cubicBezTo>
                    <a:pt x="316" y="2506"/>
                    <a:pt x="573" y="2750"/>
                    <a:pt x="888" y="2803"/>
                  </a:cubicBezTo>
                  <a:lnTo>
                    <a:pt x="888" y="3827"/>
                  </a:lnTo>
                  <a:cubicBezTo>
                    <a:pt x="888" y="3900"/>
                    <a:pt x="948" y="3960"/>
                    <a:pt x="1021" y="3960"/>
                  </a:cubicBezTo>
                  <a:cubicBezTo>
                    <a:pt x="1095" y="3960"/>
                    <a:pt x="1155" y="3900"/>
                    <a:pt x="1155" y="3827"/>
                  </a:cubicBezTo>
                  <a:lnTo>
                    <a:pt x="1155" y="2681"/>
                  </a:lnTo>
                  <a:cubicBezTo>
                    <a:pt x="1155" y="2608"/>
                    <a:pt x="1095" y="2548"/>
                    <a:pt x="1021" y="2548"/>
                  </a:cubicBezTo>
                  <a:cubicBezTo>
                    <a:pt x="1015" y="2548"/>
                    <a:pt x="1008" y="2548"/>
                    <a:pt x="1002" y="2548"/>
                  </a:cubicBezTo>
                  <a:cubicBezTo>
                    <a:pt x="762" y="2539"/>
                    <a:pt x="557" y="2365"/>
                    <a:pt x="504" y="2124"/>
                  </a:cubicBezTo>
                  <a:cubicBezTo>
                    <a:pt x="495" y="2085"/>
                    <a:pt x="469" y="1965"/>
                    <a:pt x="469" y="1965"/>
                  </a:cubicBezTo>
                  <a:lnTo>
                    <a:pt x="1089" y="1965"/>
                  </a:lnTo>
                  <a:cubicBezTo>
                    <a:pt x="1220" y="1965"/>
                    <a:pt x="1337" y="1910"/>
                    <a:pt x="1420" y="1821"/>
                  </a:cubicBezTo>
                  <a:cubicBezTo>
                    <a:pt x="1484" y="1874"/>
                    <a:pt x="1525" y="1954"/>
                    <a:pt x="1525" y="2044"/>
                  </a:cubicBezTo>
                  <a:lnTo>
                    <a:pt x="1525" y="2469"/>
                  </a:lnTo>
                  <a:cubicBezTo>
                    <a:pt x="1525" y="2543"/>
                    <a:pt x="1585" y="2602"/>
                    <a:pt x="1658" y="2602"/>
                  </a:cubicBezTo>
                  <a:cubicBezTo>
                    <a:pt x="1732" y="2602"/>
                    <a:pt x="1792" y="2543"/>
                    <a:pt x="1792" y="2469"/>
                  </a:cubicBezTo>
                  <a:lnTo>
                    <a:pt x="1792" y="2044"/>
                  </a:lnTo>
                  <a:cubicBezTo>
                    <a:pt x="1792" y="1848"/>
                    <a:pt x="1690" y="1675"/>
                    <a:pt x="1536" y="1576"/>
                  </a:cubicBezTo>
                  <a:cubicBezTo>
                    <a:pt x="1539" y="1556"/>
                    <a:pt x="1541" y="1515"/>
                    <a:pt x="1541" y="1494"/>
                  </a:cubicBezTo>
                  <a:close/>
                  <a:moveTo>
                    <a:pt x="602" y="267"/>
                  </a:moveTo>
                  <a:lnTo>
                    <a:pt x="804" y="267"/>
                  </a:lnTo>
                  <a:cubicBezTo>
                    <a:pt x="850" y="267"/>
                    <a:pt x="888" y="304"/>
                    <a:pt x="888" y="351"/>
                  </a:cubicBezTo>
                  <a:lnTo>
                    <a:pt x="888" y="1062"/>
                  </a:lnTo>
                  <a:lnTo>
                    <a:pt x="518" y="1062"/>
                  </a:lnTo>
                  <a:lnTo>
                    <a:pt x="518" y="351"/>
                  </a:lnTo>
                  <a:cubicBezTo>
                    <a:pt x="518" y="304"/>
                    <a:pt x="556" y="267"/>
                    <a:pt x="602" y="267"/>
                  </a:cubicBezTo>
                  <a:close/>
                  <a:moveTo>
                    <a:pt x="1089" y="1699"/>
                  </a:moveTo>
                  <a:lnTo>
                    <a:pt x="351" y="1699"/>
                  </a:lnTo>
                  <a:cubicBezTo>
                    <a:pt x="305" y="1699"/>
                    <a:pt x="267" y="1661"/>
                    <a:pt x="267" y="1614"/>
                  </a:cubicBezTo>
                  <a:lnTo>
                    <a:pt x="267" y="1413"/>
                  </a:lnTo>
                  <a:cubicBezTo>
                    <a:pt x="267" y="1366"/>
                    <a:pt x="305" y="1328"/>
                    <a:pt x="351" y="1328"/>
                  </a:cubicBezTo>
                  <a:lnTo>
                    <a:pt x="1089" y="1328"/>
                  </a:lnTo>
                  <a:cubicBezTo>
                    <a:pt x="1191" y="1328"/>
                    <a:pt x="1274" y="1411"/>
                    <a:pt x="1274" y="1513"/>
                  </a:cubicBezTo>
                  <a:cubicBezTo>
                    <a:pt x="1274" y="1616"/>
                    <a:pt x="1191" y="1699"/>
                    <a:pt x="1089" y="1699"/>
                  </a:cubicBezTo>
                  <a:close/>
                  <a:moveTo>
                    <a:pt x="1155" y="1067"/>
                  </a:moveTo>
                  <a:lnTo>
                    <a:pt x="1155" y="351"/>
                  </a:lnTo>
                  <a:cubicBezTo>
                    <a:pt x="1155" y="304"/>
                    <a:pt x="1193" y="267"/>
                    <a:pt x="1239" y="267"/>
                  </a:cubicBezTo>
                  <a:lnTo>
                    <a:pt x="1441" y="267"/>
                  </a:lnTo>
                  <a:cubicBezTo>
                    <a:pt x="1487" y="267"/>
                    <a:pt x="1525" y="304"/>
                    <a:pt x="1525" y="351"/>
                  </a:cubicBezTo>
                  <a:lnTo>
                    <a:pt x="1525" y="1089"/>
                  </a:lnTo>
                  <a:cubicBezTo>
                    <a:pt x="1525" y="1151"/>
                    <a:pt x="1495" y="1206"/>
                    <a:pt x="1448" y="1239"/>
                  </a:cubicBezTo>
                  <a:cubicBezTo>
                    <a:pt x="1378" y="1148"/>
                    <a:pt x="1274" y="1084"/>
                    <a:pt x="1155" y="1067"/>
                  </a:cubicBezTo>
                  <a:close/>
                  <a:moveTo>
                    <a:pt x="1977" y="1274"/>
                  </a:moveTo>
                  <a:cubicBezTo>
                    <a:pt x="1875" y="1274"/>
                    <a:pt x="1792" y="1191"/>
                    <a:pt x="1792" y="1089"/>
                  </a:cubicBezTo>
                  <a:lnTo>
                    <a:pt x="1792" y="351"/>
                  </a:lnTo>
                  <a:cubicBezTo>
                    <a:pt x="1792" y="304"/>
                    <a:pt x="1830" y="267"/>
                    <a:pt x="1876" y="267"/>
                  </a:cubicBezTo>
                  <a:lnTo>
                    <a:pt x="2078" y="267"/>
                  </a:lnTo>
                  <a:cubicBezTo>
                    <a:pt x="2124" y="267"/>
                    <a:pt x="2162" y="304"/>
                    <a:pt x="2162" y="351"/>
                  </a:cubicBezTo>
                  <a:lnTo>
                    <a:pt x="2162" y="1089"/>
                  </a:lnTo>
                  <a:cubicBezTo>
                    <a:pt x="2162" y="1191"/>
                    <a:pt x="2079" y="1274"/>
                    <a:pt x="1977" y="1274"/>
                  </a:cubicBezTo>
                  <a:close/>
                  <a:moveTo>
                    <a:pt x="2614" y="1486"/>
                  </a:moveTo>
                  <a:cubicBezTo>
                    <a:pt x="2512" y="1486"/>
                    <a:pt x="2429" y="1403"/>
                    <a:pt x="2429" y="1301"/>
                  </a:cubicBezTo>
                  <a:lnTo>
                    <a:pt x="2429" y="563"/>
                  </a:lnTo>
                  <a:cubicBezTo>
                    <a:pt x="2429" y="517"/>
                    <a:pt x="2467" y="479"/>
                    <a:pt x="2513" y="479"/>
                  </a:cubicBezTo>
                  <a:lnTo>
                    <a:pt x="2715" y="479"/>
                  </a:lnTo>
                  <a:cubicBezTo>
                    <a:pt x="2761" y="479"/>
                    <a:pt x="2799" y="517"/>
                    <a:pt x="2799" y="563"/>
                  </a:cubicBezTo>
                  <a:lnTo>
                    <a:pt x="2799" y="1301"/>
                  </a:lnTo>
                  <a:cubicBezTo>
                    <a:pt x="2799" y="1403"/>
                    <a:pt x="2716" y="1486"/>
                    <a:pt x="2614" y="148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îsḷíḍé"/>
            <p:cNvSpPr txBox="1"/>
            <p:nvPr/>
          </p:nvSpPr>
          <p:spPr>
            <a:xfrm>
              <a:off x="5799472" y="2755900"/>
              <a:ext cx="1960228" cy="324616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spc="100" dirty="0">
                  <a:solidFill>
                    <a:schemeClr val="bg1"/>
                  </a:solidFill>
                  <a:latin typeface="Impact" panose="020B0806030902050204" pitchFamily="34" charset="0"/>
                  <a:cs typeface="Arial" panose="020B0604020202020204" pitchFamily="34" charset="0"/>
                </a:rPr>
                <a:t>抗击疫情专题</a:t>
              </a:r>
              <a:endParaRPr lang="zh-CN" altLang="en-US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íšliḑê"/>
            <p:cNvSpPr/>
            <p:nvPr/>
          </p:nvSpPr>
          <p:spPr>
            <a:xfrm>
              <a:off x="5219700" y="2603500"/>
              <a:ext cx="2705100" cy="647700"/>
            </a:xfrm>
            <a:custGeom>
              <a:avLst/>
              <a:gdLst>
                <a:gd name="connsiteX0" fmla="*/ 558800 w 2616200"/>
                <a:gd name="connsiteY0" fmla="*/ 0 h 647700"/>
                <a:gd name="connsiteX1" fmla="*/ 2616200 w 2616200"/>
                <a:gd name="connsiteY1" fmla="*/ 0 h 647700"/>
                <a:gd name="connsiteX2" fmla="*/ 2616200 w 2616200"/>
                <a:gd name="connsiteY2" fmla="*/ 647700 h 647700"/>
                <a:gd name="connsiteX3" fmla="*/ 0 w 2616200"/>
                <a:gd name="connsiteY3" fmla="*/ 64770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16200" h="647700">
                  <a:moveTo>
                    <a:pt x="558800" y="0"/>
                  </a:moveTo>
                  <a:lnTo>
                    <a:pt x="2616200" y="0"/>
                  </a:lnTo>
                  <a:lnTo>
                    <a:pt x="2616200" y="647700"/>
                  </a:lnTo>
                  <a:lnTo>
                    <a:pt x="0" y="647700"/>
                  </a:lnTo>
                </a:path>
              </a:pathLst>
            </a:cu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lï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śľiḍé"/>
          <p:cNvSpPr>
            <a:spLocks noGrp="1"/>
          </p:cNvSpPr>
          <p:nvPr>
            <p:ph type="title"/>
          </p:nvPr>
        </p:nvSpPr>
        <p:spPr>
          <a:xfrm>
            <a:off x="4813435" y="1127005"/>
            <a:ext cx="6549614" cy="4542670"/>
          </a:xfrm>
        </p:spPr>
        <p:txBody>
          <a:bodyPr anchor="ctr"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b="0" dirty="0"/>
              <a:t>在</a:t>
            </a:r>
            <a:r>
              <a:rPr lang="en-US" altLang="zh-CN" sz="2000" b="0" dirty="0"/>
              <a:t>2020</a:t>
            </a:r>
            <a:r>
              <a:rPr lang="zh-CN" altLang="en-US" sz="2000" b="0" dirty="0"/>
              <a:t>年春节来临之际，一场由新型冠状病毒感染的肺炎疫情，以迅猛之势，降临于祖国大地。这次疫情来势汹汹，蔓延迅速，严重威胁着人民的生命安全和身心健康。疫情悄然发生，发展的又让人猝不及防。为了缓解同学们的心理压力，我受校领导和教务科领导的委托，今晚和大家共同学习疫情期间如何进行心理调节，为你的心理重筑防疫的碮坝</a:t>
            </a:r>
            <a:r>
              <a:rPr lang="zh-CN" altLang="en-US" sz="2000" b="0" dirty="0"/>
              <a:t>。</a:t>
            </a:r>
            <a:br>
              <a:rPr lang="en-US" altLang="zh-CN" sz="2000" b="0" dirty="0"/>
            </a:br>
            <a:endParaRPr lang="zh-CN" altLang="en-US" sz="2000" dirty="0"/>
          </a:p>
        </p:txBody>
      </p:sp>
      <p:sp>
        <p:nvSpPr>
          <p:cNvPr id="7" name="íṡḻîḍê"/>
          <p:cNvSpPr txBox="1"/>
          <p:nvPr/>
        </p:nvSpPr>
        <p:spPr>
          <a:xfrm>
            <a:off x="1521114" y="380611"/>
            <a:ext cx="22145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8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前言</a:t>
            </a:r>
            <a:endParaRPr lang="zh-CN" altLang="en-US" sz="4800" b="1" dirty="0">
              <a:solidFill>
                <a:schemeClr val="accent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  <p:grpSp>
        <p:nvGrpSpPr>
          <p:cNvPr id="8" name="组合 7"/>
          <p:cNvGrpSpPr>
            <a:grpSpLocks noChangeAspect="1"/>
          </p:cNvGrpSpPr>
          <p:nvPr/>
        </p:nvGrpSpPr>
        <p:grpSpPr>
          <a:xfrm>
            <a:off x="9978395" y="5126066"/>
            <a:ext cx="1384654" cy="1587451"/>
            <a:chOff x="4184492" y="1237531"/>
            <a:chExt cx="3823017" cy="4382938"/>
          </a:xfrm>
        </p:grpSpPr>
        <p:sp>
          <p:nvSpPr>
            <p:cNvPr id="9" name="椭圆 8"/>
            <p:cNvSpPr/>
            <p:nvPr/>
          </p:nvSpPr>
          <p:spPr bwMode="auto">
            <a:xfrm>
              <a:off x="4215599" y="1477054"/>
              <a:ext cx="3748361" cy="3770135"/>
            </a:xfrm>
            <a:prstGeom prst="ellipse">
              <a:avLst/>
            </a:prstGeom>
            <a:solidFill>
              <a:srgbClr val="E7E6E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0" name="任意多边形 2"/>
            <p:cNvSpPr/>
            <p:nvPr/>
          </p:nvSpPr>
          <p:spPr bwMode="auto">
            <a:xfrm>
              <a:off x="4623098" y="3253247"/>
              <a:ext cx="2889815" cy="1937950"/>
            </a:xfrm>
            <a:custGeom>
              <a:avLst/>
              <a:gdLst>
                <a:gd name="T0" fmla="*/ 18 w 257"/>
                <a:gd name="T1" fmla="*/ 171 h 171"/>
                <a:gd name="T2" fmla="*/ 248 w 257"/>
                <a:gd name="T3" fmla="*/ 171 h 171"/>
                <a:gd name="T4" fmla="*/ 227 w 257"/>
                <a:gd name="T5" fmla="*/ 19 h 171"/>
                <a:gd name="T6" fmla="*/ 30 w 257"/>
                <a:gd name="T7" fmla="*/ 20 h 171"/>
                <a:gd name="T8" fmla="*/ 18 w 257"/>
                <a:gd name="T9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7" h="171">
                  <a:moveTo>
                    <a:pt x="18" y="171"/>
                  </a:moveTo>
                  <a:cubicBezTo>
                    <a:pt x="248" y="171"/>
                    <a:pt x="248" y="171"/>
                    <a:pt x="248" y="171"/>
                  </a:cubicBezTo>
                  <a:cubicBezTo>
                    <a:pt x="248" y="171"/>
                    <a:pt x="257" y="38"/>
                    <a:pt x="227" y="19"/>
                  </a:cubicBezTo>
                  <a:cubicBezTo>
                    <a:pt x="198" y="0"/>
                    <a:pt x="61" y="4"/>
                    <a:pt x="30" y="20"/>
                  </a:cubicBezTo>
                  <a:cubicBezTo>
                    <a:pt x="0" y="37"/>
                    <a:pt x="18" y="171"/>
                    <a:pt x="18" y="171"/>
                  </a:cubicBezTo>
                  <a:close/>
                </a:path>
              </a:pathLst>
            </a:custGeom>
            <a:solidFill>
              <a:srgbClr val="E6B5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1" name="任意多边形 3"/>
            <p:cNvSpPr/>
            <p:nvPr/>
          </p:nvSpPr>
          <p:spPr bwMode="auto">
            <a:xfrm>
              <a:off x="5071035" y="2111631"/>
              <a:ext cx="317289" cy="1038964"/>
            </a:xfrm>
            <a:custGeom>
              <a:avLst/>
              <a:gdLst>
                <a:gd name="T0" fmla="*/ 17 w 28"/>
                <a:gd name="T1" fmla="*/ 92 h 92"/>
                <a:gd name="T2" fmla="*/ 16 w 28"/>
                <a:gd name="T3" fmla="*/ 92 h 92"/>
                <a:gd name="T4" fmla="*/ 8 w 28"/>
                <a:gd name="T5" fmla="*/ 54 h 92"/>
                <a:gd name="T6" fmla="*/ 16 w 28"/>
                <a:gd name="T7" fmla="*/ 33 h 92"/>
                <a:gd name="T8" fmla="*/ 24 w 28"/>
                <a:gd name="T9" fmla="*/ 1 h 92"/>
                <a:gd name="T10" fmla="*/ 26 w 28"/>
                <a:gd name="T11" fmla="*/ 0 h 92"/>
                <a:gd name="T12" fmla="*/ 27 w 28"/>
                <a:gd name="T13" fmla="*/ 1 h 92"/>
                <a:gd name="T14" fmla="*/ 19 w 28"/>
                <a:gd name="T15" fmla="*/ 35 h 92"/>
                <a:gd name="T16" fmla="*/ 11 w 28"/>
                <a:gd name="T17" fmla="*/ 55 h 92"/>
                <a:gd name="T18" fmla="*/ 18 w 28"/>
                <a:gd name="T19" fmla="*/ 89 h 92"/>
                <a:gd name="T20" fmla="*/ 18 w 28"/>
                <a:gd name="T21" fmla="*/ 92 h 92"/>
                <a:gd name="T22" fmla="*/ 17 w 28"/>
                <a:gd name="T2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92">
                  <a:moveTo>
                    <a:pt x="17" y="92"/>
                  </a:moveTo>
                  <a:cubicBezTo>
                    <a:pt x="16" y="92"/>
                    <a:pt x="16" y="92"/>
                    <a:pt x="16" y="92"/>
                  </a:cubicBezTo>
                  <a:cubicBezTo>
                    <a:pt x="15" y="91"/>
                    <a:pt x="0" y="79"/>
                    <a:pt x="8" y="54"/>
                  </a:cubicBezTo>
                  <a:cubicBezTo>
                    <a:pt x="11" y="45"/>
                    <a:pt x="14" y="39"/>
                    <a:pt x="16" y="33"/>
                  </a:cubicBezTo>
                  <a:cubicBezTo>
                    <a:pt x="21" y="24"/>
                    <a:pt x="24" y="16"/>
                    <a:pt x="24" y="1"/>
                  </a:cubicBezTo>
                  <a:cubicBezTo>
                    <a:pt x="25" y="0"/>
                    <a:pt x="25" y="0"/>
                    <a:pt x="26" y="0"/>
                  </a:cubicBezTo>
                  <a:cubicBezTo>
                    <a:pt x="27" y="0"/>
                    <a:pt x="28" y="0"/>
                    <a:pt x="27" y="1"/>
                  </a:cubicBezTo>
                  <a:cubicBezTo>
                    <a:pt x="27" y="17"/>
                    <a:pt x="23" y="25"/>
                    <a:pt x="19" y="35"/>
                  </a:cubicBezTo>
                  <a:cubicBezTo>
                    <a:pt x="17" y="40"/>
                    <a:pt x="14" y="46"/>
                    <a:pt x="11" y="55"/>
                  </a:cubicBezTo>
                  <a:cubicBezTo>
                    <a:pt x="4" y="78"/>
                    <a:pt x="17" y="89"/>
                    <a:pt x="18" y="89"/>
                  </a:cubicBezTo>
                  <a:cubicBezTo>
                    <a:pt x="18" y="90"/>
                    <a:pt x="18" y="91"/>
                    <a:pt x="18" y="92"/>
                  </a:cubicBezTo>
                  <a:cubicBezTo>
                    <a:pt x="17" y="92"/>
                    <a:pt x="17" y="92"/>
                    <a:pt x="17" y="92"/>
                  </a:cubicBezTo>
                  <a:close/>
                </a:path>
              </a:pathLst>
            </a:custGeom>
            <a:solidFill>
              <a:srgbClr val="3E2D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2" name="任意多边形 4"/>
            <p:cNvSpPr/>
            <p:nvPr/>
          </p:nvSpPr>
          <p:spPr bwMode="auto">
            <a:xfrm>
              <a:off x="5746049" y="1237531"/>
              <a:ext cx="438606" cy="432384"/>
            </a:xfrm>
            <a:custGeom>
              <a:avLst/>
              <a:gdLst>
                <a:gd name="T0" fmla="*/ 38 w 39"/>
                <a:gd name="T1" fmla="*/ 20 h 38"/>
                <a:gd name="T2" fmla="*/ 19 w 39"/>
                <a:gd name="T3" fmla="*/ 38 h 38"/>
                <a:gd name="T4" fmla="*/ 1 w 39"/>
                <a:gd name="T5" fmla="*/ 18 h 38"/>
                <a:gd name="T6" fmla="*/ 20 w 39"/>
                <a:gd name="T7" fmla="*/ 0 h 38"/>
                <a:gd name="T8" fmla="*/ 38 w 39"/>
                <a:gd name="T9" fmla="*/ 2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8" y="20"/>
                  </a:moveTo>
                  <a:cubicBezTo>
                    <a:pt x="38" y="30"/>
                    <a:pt x="29" y="38"/>
                    <a:pt x="19" y="38"/>
                  </a:cubicBezTo>
                  <a:cubicBezTo>
                    <a:pt x="8" y="38"/>
                    <a:pt x="0" y="29"/>
                    <a:pt x="1" y="18"/>
                  </a:cubicBezTo>
                  <a:cubicBezTo>
                    <a:pt x="1" y="8"/>
                    <a:pt x="10" y="0"/>
                    <a:pt x="20" y="0"/>
                  </a:cubicBezTo>
                  <a:cubicBezTo>
                    <a:pt x="31" y="1"/>
                    <a:pt x="39" y="9"/>
                    <a:pt x="38" y="20"/>
                  </a:cubicBezTo>
                  <a:close/>
                </a:path>
              </a:pathLst>
            </a:custGeom>
            <a:solidFill>
              <a:srgbClr val="3E2D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" name="任意多边形 5"/>
            <p:cNvSpPr/>
            <p:nvPr/>
          </p:nvSpPr>
          <p:spPr bwMode="auto">
            <a:xfrm>
              <a:off x="5127027" y="1725908"/>
              <a:ext cx="1667320" cy="1617550"/>
            </a:xfrm>
            <a:custGeom>
              <a:avLst/>
              <a:gdLst>
                <a:gd name="T0" fmla="*/ 10 w 148"/>
                <a:gd name="T1" fmla="*/ 119 h 143"/>
                <a:gd name="T2" fmla="*/ 38 w 148"/>
                <a:gd name="T3" fmla="*/ 134 h 143"/>
                <a:gd name="T4" fmla="*/ 66 w 148"/>
                <a:gd name="T5" fmla="*/ 135 h 143"/>
                <a:gd name="T6" fmla="*/ 96 w 148"/>
                <a:gd name="T7" fmla="*/ 136 h 143"/>
                <a:gd name="T8" fmla="*/ 143 w 148"/>
                <a:gd name="T9" fmla="*/ 127 h 143"/>
                <a:gd name="T10" fmla="*/ 133 w 148"/>
                <a:gd name="T11" fmla="*/ 25 h 143"/>
                <a:gd name="T12" fmla="*/ 32 w 148"/>
                <a:gd name="T13" fmla="*/ 16 h 143"/>
                <a:gd name="T14" fmla="*/ 10 w 148"/>
                <a:gd name="T15" fmla="*/ 119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8" h="143">
                  <a:moveTo>
                    <a:pt x="10" y="119"/>
                  </a:moveTo>
                  <a:cubicBezTo>
                    <a:pt x="10" y="119"/>
                    <a:pt x="15" y="130"/>
                    <a:pt x="38" y="134"/>
                  </a:cubicBezTo>
                  <a:cubicBezTo>
                    <a:pt x="48" y="136"/>
                    <a:pt x="58" y="135"/>
                    <a:pt x="66" y="135"/>
                  </a:cubicBezTo>
                  <a:cubicBezTo>
                    <a:pt x="77" y="134"/>
                    <a:pt x="86" y="133"/>
                    <a:pt x="96" y="136"/>
                  </a:cubicBezTo>
                  <a:cubicBezTo>
                    <a:pt x="113" y="143"/>
                    <a:pt x="138" y="134"/>
                    <a:pt x="143" y="127"/>
                  </a:cubicBezTo>
                  <a:cubicBezTo>
                    <a:pt x="148" y="120"/>
                    <a:pt x="147" y="39"/>
                    <a:pt x="133" y="25"/>
                  </a:cubicBezTo>
                  <a:cubicBezTo>
                    <a:pt x="120" y="12"/>
                    <a:pt x="48" y="0"/>
                    <a:pt x="32" y="16"/>
                  </a:cubicBezTo>
                  <a:cubicBezTo>
                    <a:pt x="17" y="32"/>
                    <a:pt x="0" y="110"/>
                    <a:pt x="10" y="119"/>
                  </a:cubicBezTo>
                </a:path>
              </a:pathLst>
            </a:custGeom>
            <a:solidFill>
              <a:srgbClr val="3E2D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" name="任意多边形 6"/>
            <p:cNvSpPr/>
            <p:nvPr/>
          </p:nvSpPr>
          <p:spPr bwMode="auto">
            <a:xfrm>
              <a:off x="5298113" y="1601481"/>
              <a:ext cx="1415357" cy="1437131"/>
            </a:xfrm>
            <a:custGeom>
              <a:avLst/>
              <a:gdLst>
                <a:gd name="T0" fmla="*/ 125 w 126"/>
                <a:gd name="T1" fmla="*/ 66 h 127"/>
                <a:gd name="T2" fmla="*/ 61 w 126"/>
                <a:gd name="T3" fmla="*/ 126 h 127"/>
                <a:gd name="T4" fmla="*/ 1 w 126"/>
                <a:gd name="T5" fmla="*/ 61 h 127"/>
                <a:gd name="T6" fmla="*/ 65 w 126"/>
                <a:gd name="T7" fmla="*/ 2 h 127"/>
                <a:gd name="T8" fmla="*/ 125 w 126"/>
                <a:gd name="T9" fmla="*/ 66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27">
                  <a:moveTo>
                    <a:pt x="125" y="66"/>
                  </a:moveTo>
                  <a:cubicBezTo>
                    <a:pt x="124" y="100"/>
                    <a:pt x="95" y="127"/>
                    <a:pt x="61" y="126"/>
                  </a:cubicBezTo>
                  <a:cubicBezTo>
                    <a:pt x="27" y="124"/>
                    <a:pt x="0" y="96"/>
                    <a:pt x="1" y="61"/>
                  </a:cubicBezTo>
                  <a:cubicBezTo>
                    <a:pt x="2" y="27"/>
                    <a:pt x="31" y="0"/>
                    <a:pt x="65" y="2"/>
                  </a:cubicBezTo>
                  <a:cubicBezTo>
                    <a:pt x="100" y="3"/>
                    <a:pt x="126" y="32"/>
                    <a:pt x="125" y="66"/>
                  </a:cubicBezTo>
                </a:path>
              </a:pathLst>
            </a:custGeom>
            <a:solidFill>
              <a:srgbClr val="3E2D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" name="任意多边形 7"/>
            <p:cNvSpPr/>
            <p:nvPr/>
          </p:nvSpPr>
          <p:spPr bwMode="auto">
            <a:xfrm>
              <a:off x="5780268" y="2811531"/>
              <a:ext cx="563033" cy="793222"/>
            </a:xfrm>
            <a:custGeom>
              <a:avLst/>
              <a:gdLst>
                <a:gd name="T0" fmla="*/ 46 w 50"/>
                <a:gd name="T1" fmla="*/ 11 h 70"/>
                <a:gd name="T2" fmla="*/ 46 w 50"/>
                <a:gd name="T3" fmla="*/ 64 h 70"/>
                <a:gd name="T4" fmla="*/ 9 w 50"/>
                <a:gd name="T5" fmla="*/ 64 h 70"/>
                <a:gd name="T6" fmla="*/ 4 w 50"/>
                <a:gd name="T7" fmla="*/ 11 h 70"/>
                <a:gd name="T8" fmla="*/ 46 w 50"/>
                <a:gd name="T9" fmla="*/ 11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70">
                  <a:moveTo>
                    <a:pt x="46" y="11"/>
                  </a:moveTo>
                  <a:cubicBezTo>
                    <a:pt x="46" y="11"/>
                    <a:pt x="50" y="59"/>
                    <a:pt x="46" y="64"/>
                  </a:cubicBezTo>
                  <a:cubicBezTo>
                    <a:pt x="42" y="70"/>
                    <a:pt x="16" y="66"/>
                    <a:pt x="9" y="64"/>
                  </a:cubicBezTo>
                  <a:cubicBezTo>
                    <a:pt x="3" y="63"/>
                    <a:pt x="0" y="11"/>
                    <a:pt x="4" y="11"/>
                  </a:cubicBezTo>
                  <a:cubicBezTo>
                    <a:pt x="8" y="11"/>
                    <a:pt x="45" y="0"/>
                    <a:pt x="46" y="11"/>
                  </a:cubicBezTo>
                  <a:close/>
                </a:path>
              </a:pathLst>
            </a:custGeom>
            <a:solidFill>
              <a:srgbClr val="DF9F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" name="任意多边形 8"/>
            <p:cNvSpPr/>
            <p:nvPr/>
          </p:nvSpPr>
          <p:spPr bwMode="auto">
            <a:xfrm>
              <a:off x="5329219" y="1794342"/>
              <a:ext cx="1284709" cy="1424688"/>
            </a:xfrm>
            <a:custGeom>
              <a:avLst/>
              <a:gdLst>
                <a:gd name="T0" fmla="*/ 9 w 114"/>
                <a:gd name="T1" fmla="*/ 44 h 126"/>
                <a:gd name="T2" fmla="*/ 63 w 114"/>
                <a:gd name="T3" fmla="*/ 123 h 126"/>
                <a:gd name="T4" fmla="*/ 95 w 114"/>
                <a:gd name="T5" fmla="*/ 10 h 126"/>
                <a:gd name="T6" fmla="*/ 9 w 114"/>
                <a:gd name="T7" fmla="*/ 44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" h="126">
                  <a:moveTo>
                    <a:pt x="9" y="44"/>
                  </a:moveTo>
                  <a:cubicBezTo>
                    <a:pt x="9" y="44"/>
                    <a:pt x="12" y="120"/>
                    <a:pt x="63" y="123"/>
                  </a:cubicBezTo>
                  <a:cubicBezTo>
                    <a:pt x="114" y="126"/>
                    <a:pt x="114" y="20"/>
                    <a:pt x="95" y="10"/>
                  </a:cubicBezTo>
                  <a:cubicBezTo>
                    <a:pt x="77" y="0"/>
                    <a:pt x="0" y="2"/>
                    <a:pt x="9" y="44"/>
                  </a:cubicBezTo>
                </a:path>
              </a:pathLst>
            </a:custGeom>
            <a:solidFill>
              <a:srgbClr val="DF9F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7" name="任意多边形 9"/>
            <p:cNvSpPr/>
            <p:nvPr/>
          </p:nvSpPr>
          <p:spPr bwMode="auto">
            <a:xfrm>
              <a:off x="5948244" y="2450693"/>
              <a:ext cx="180419" cy="326622"/>
            </a:xfrm>
            <a:custGeom>
              <a:avLst/>
              <a:gdLst>
                <a:gd name="T0" fmla="*/ 7 w 16"/>
                <a:gd name="T1" fmla="*/ 2 h 29"/>
                <a:gd name="T2" fmla="*/ 14 w 16"/>
                <a:gd name="T3" fmla="*/ 27 h 29"/>
                <a:gd name="T4" fmla="*/ 2 w 16"/>
                <a:gd name="T5" fmla="*/ 27 h 29"/>
                <a:gd name="T6" fmla="*/ 7 w 16"/>
                <a:gd name="T7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29">
                  <a:moveTo>
                    <a:pt x="7" y="2"/>
                  </a:moveTo>
                  <a:cubicBezTo>
                    <a:pt x="7" y="2"/>
                    <a:pt x="16" y="26"/>
                    <a:pt x="14" y="27"/>
                  </a:cubicBezTo>
                  <a:cubicBezTo>
                    <a:pt x="11" y="29"/>
                    <a:pt x="4" y="28"/>
                    <a:pt x="2" y="27"/>
                  </a:cubicBezTo>
                  <a:cubicBezTo>
                    <a:pt x="0" y="25"/>
                    <a:pt x="3" y="0"/>
                    <a:pt x="7" y="2"/>
                  </a:cubicBezTo>
                </a:path>
              </a:pathLst>
            </a:custGeom>
            <a:solidFill>
              <a:srgbClr val="C05C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8" name="任意多边形 10"/>
            <p:cNvSpPr/>
            <p:nvPr/>
          </p:nvSpPr>
          <p:spPr bwMode="auto">
            <a:xfrm>
              <a:off x="5746049" y="2506685"/>
              <a:ext cx="111984" cy="111984"/>
            </a:xfrm>
            <a:custGeom>
              <a:avLst/>
              <a:gdLst>
                <a:gd name="T0" fmla="*/ 9 w 10"/>
                <a:gd name="T1" fmla="*/ 5 h 10"/>
                <a:gd name="T2" fmla="*/ 4 w 10"/>
                <a:gd name="T3" fmla="*/ 10 h 10"/>
                <a:gd name="T4" fmla="*/ 0 w 10"/>
                <a:gd name="T5" fmla="*/ 5 h 10"/>
                <a:gd name="T6" fmla="*/ 5 w 10"/>
                <a:gd name="T7" fmla="*/ 0 h 10"/>
                <a:gd name="T8" fmla="*/ 9 w 10"/>
                <a:gd name="T9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9" y="5"/>
                  </a:moveTo>
                  <a:cubicBezTo>
                    <a:pt x="9" y="8"/>
                    <a:pt x="7" y="10"/>
                    <a:pt x="4" y="10"/>
                  </a:cubicBezTo>
                  <a:cubicBezTo>
                    <a:pt x="2" y="10"/>
                    <a:pt x="0" y="7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0" y="2"/>
                    <a:pt x="9" y="5"/>
                  </a:cubicBezTo>
                  <a:close/>
                </a:path>
              </a:pathLst>
            </a:custGeom>
            <a:solidFill>
              <a:srgbClr val="3E2D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9" name="任意多边形 11"/>
            <p:cNvSpPr/>
            <p:nvPr/>
          </p:nvSpPr>
          <p:spPr bwMode="auto">
            <a:xfrm>
              <a:off x="6209541" y="2484912"/>
              <a:ext cx="111984" cy="111984"/>
            </a:xfrm>
            <a:custGeom>
              <a:avLst/>
              <a:gdLst>
                <a:gd name="T0" fmla="*/ 10 w 10"/>
                <a:gd name="T1" fmla="*/ 5 h 10"/>
                <a:gd name="T2" fmla="*/ 5 w 10"/>
                <a:gd name="T3" fmla="*/ 9 h 10"/>
                <a:gd name="T4" fmla="*/ 0 w 10"/>
                <a:gd name="T5" fmla="*/ 4 h 10"/>
                <a:gd name="T6" fmla="*/ 5 w 10"/>
                <a:gd name="T7" fmla="*/ 0 h 10"/>
                <a:gd name="T8" fmla="*/ 10 w 10"/>
                <a:gd name="T9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10" y="5"/>
                  </a:moveTo>
                  <a:cubicBezTo>
                    <a:pt x="9" y="8"/>
                    <a:pt x="7" y="10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lose/>
                </a:path>
              </a:pathLst>
            </a:custGeom>
            <a:solidFill>
              <a:srgbClr val="3E2D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0" name="任意多边形 12"/>
            <p:cNvSpPr/>
            <p:nvPr/>
          </p:nvSpPr>
          <p:spPr bwMode="auto">
            <a:xfrm>
              <a:off x="4980824" y="1828559"/>
              <a:ext cx="911428" cy="973641"/>
            </a:xfrm>
            <a:custGeom>
              <a:avLst/>
              <a:gdLst>
                <a:gd name="T0" fmla="*/ 81 w 81"/>
                <a:gd name="T1" fmla="*/ 1 h 86"/>
                <a:gd name="T2" fmla="*/ 59 w 81"/>
                <a:gd name="T3" fmla="*/ 26 h 86"/>
                <a:gd name="T4" fmla="*/ 38 w 81"/>
                <a:gd name="T5" fmla="*/ 84 h 86"/>
                <a:gd name="T6" fmla="*/ 81 w 81"/>
                <a:gd name="T7" fmla="*/ 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1" h="86">
                  <a:moveTo>
                    <a:pt x="81" y="1"/>
                  </a:moveTo>
                  <a:cubicBezTo>
                    <a:pt x="81" y="1"/>
                    <a:pt x="62" y="10"/>
                    <a:pt x="59" y="26"/>
                  </a:cubicBezTo>
                  <a:cubicBezTo>
                    <a:pt x="55" y="43"/>
                    <a:pt x="57" y="86"/>
                    <a:pt x="38" y="84"/>
                  </a:cubicBezTo>
                  <a:cubicBezTo>
                    <a:pt x="38" y="84"/>
                    <a:pt x="0" y="0"/>
                    <a:pt x="81" y="1"/>
                  </a:cubicBezTo>
                  <a:close/>
                </a:path>
              </a:pathLst>
            </a:custGeom>
            <a:solidFill>
              <a:srgbClr val="3E2D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1" name="任意多边形 13"/>
            <p:cNvSpPr/>
            <p:nvPr/>
          </p:nvSpPr>
          <p:spPr bwMode="auto">
            <a:xfrm>
              <a:off x="5973129" y="1769457"/>
              <a:ext cx="650131" cy="827439"/>
            </a:xfrm>
            <a:custGeom>
              <a:avLst/>
              <a:gdLst>
                <a:gd name="T0" fmla="*/ 2 w 58"/>
                <a:gd name="T1" fmla="*/ 6 h 73"/>
                <a:gd name="T2" fmla="*/ 33 w 58"/>
                <a:gd name="T3" fmla="*/ 22 h 73"/>
                <a:gd name="T4" fmla="*/ 49 w 58"/>
                <a:gd name="T5" fmla="*/ 72 h 73"/>
                <a:gd name="T6" fmla="*/ 45 w 58"/>
                <a:gd name="T7" fmla="*/ 15 h 73"/>
                <a:gd name="T8" fmla="*/ 2 w 58"/>
                <a:gd name="T9" fmla="*/ 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73">
                  <a:moveTo>
                    <a:pt x="2" y="6"/>
                  </a:moveTo>
                  <a:cubicBezTo>
                    <a:pt x="0" y="8"/>
                    <a:pt x="21" y="8"/>
                    <a:pt x="33" y="22"/>
                  </a:cubicBezTo>
                  <a:cubicBezTo>
                    <a:pt x="44" y="36"/>
                    <a:pt x="47" y="71"/>
                    <a:pt x="49" y="72"/>
                  </a:cubicBezTo>
                  <a:cubicBezTo>
                    <a:pt x="51" y="73"/>
                    <a:pt x="58" y="28"/>
                    <a:pt x="45" y="15"/>
                  </a:cubicBezTo>
                  <a:cubicBezTo>
                    <a:pt x="32" y="1"/>
                    <a:pt x="12" y="0"/>
                    <a:pt x="2" y="6"/>
                  </a:cubicBezTo>
                  <a:close/>
                </a:path>
              </a:pathLst>
            </a:custGeom>
            <a:solidFill>
              <a:srgbClr val="3E2D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2" name="任意多边形 14"/>
            <p:cNvSpPr/>
            <p:nvPr/>
          </p:nvSpPr>
          <p:spPr bwMode="auto">
            <a:xfrm>
              <a:off x="5814484" y="3094603"/>
              <a:ext cx="494598" cy="248854"/>
            </a:xfrm>
            <a:custGeom>
              <a:avLst/>
              <a:gdLst>
                <a:gd name="T0" fmla="*/ 2 w 44"/>
                <a:gd name="T1" fmla="*/ 1 h 22"/>
                <a:gd name="T2" fmla="*/ 42 w 44"/>
                <a:gd name="T3" fmla="*/ 2 h 22"/>
                <a:gd name="T4" fmla="*/ 42 w 44"/>
                <a:gd name="T5" fmla="*/ 17 h 22"/>
                <a:gd name="T6" fmla="*/ 1 w 44"/>
                <a:gd name="T7" fmla="*/ 8 h 22"/>
                <a:gd name="T8" fmla="*/ 2 w 44"/>
                <a:gd name="T9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2">
                  <a:moveTo>
                    <a:pt x="2" y="1"/>
                  </a:moveTo>
                  <a:cubicBezTo>
                    <a:pt x="2" y="1"/>
                    <a:pt x="21" y="12"/>
                    <a:pt x="42" y="2"/>
                  </a:cubicBezTo>
                  <a:cubicBezTo>
                    <a:pt x="42" y="2"/>
                    <a:pt x="44" y="14"/>
                    <a:pt x="42" y="17"/>
                  </a:cubicBezTo>
                  <a:cubicBezTo>
                    <a:pt x="40" y="20"/>
                    <a:pt x="8" y="22"/>
                    <a:pt x="1" y="8"/>
                  </a:cubicBezTo>
                  <a:cubicBezTo>
                    <a:pt x="1" y="8"/>
                    <a:pt x="0" y="0"/>
                    <a:pt x="2" y="1"/>
                  </a:cubicBezTo>
                  <a:close/>
                </a:path>
              </a:pathLst>
            </a:custGeom>
            <a:solidFill>
              <a:srgbClr val="C05C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3" name="任意多边形 15"/>
            <p:cNvSpPr/>
            <p:nvPr/>
          </p:nvSpPr>
          <p:spPr bwMode="auto">
            <a:xfrm>
              <a:off x="6421066" y="2404034"/>
              <a:ext cx="292403" cy="419942"/>
            </a:xfrm>
            <a:custGeom>
              <a:avLst/>
              <a:gdLst>
                <a:gd name="T0" fmla="*/ 5 w 26"/>
                <a:gd name="T1" fmla="*/ 19 h 37"/>
                <a:gd name="T2" fmla="*/ 18 w 26"/>
                <a:gd name="T3" fmla="*/ 7 h 37"/>
                <a:gd name="T4" fmla="*/ 10 w 26"/>
                <a:gd name="T5" fmla="*/ 35 h 37"/>
                <a:gd name="T6" fmla="*/ 5 w 26"/>
                <a:gd name="T7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7">
                  <a:moveTo>
                    <a:pt x="5" y="19"/>
                  </a:moveTo>
                  <a:cubicBezTo>
                    <a:pt x="5" y="19"/>
                    <a:pt x="9" y="0"/>
                    <a:pt x="18" y="7"/>
                  </a:cubicBezTo>
                  <a:cubicBezTo>
                    <a:pt x="26" y="14"/>
                    <a:pt x="19" y="33"/>
                    <a:pt x="10" y="35"/>
                  </a:cubicBezTo>
                  <a:cubicBezTo>
                    <a:pt x="2" y="37"/>
                    <a:pt x="0" y="29"/>
                    <a:pt x="5" y="19"/>
                  </a:cubicBezTo>
                  <a:close/>
                </a:path>
              </a:pathLst>
            </a:custGeom>
            <a:solidFill>
              <a:srgbClr val="DF9F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4" name="任意多边形 16"/>
            <p:cNvSpPr/>
            <p:nvPr/>
          </p:nvSpPr>
          <p:spPr bwMode="auto">
            <a:xfrm>
              <a:off x="5329219" y="2369816"/>
              <a:ext cx="283072" cy="419942"/>
            </a:xfrm>
            <a:custGeom>
              <a:avLst/>
              <a:gdLst>
                <a:gd name="T0" fmla="*/ 21 w 25"/>
                <a:gd name="T1" fmla="*/ 19 h 37"/>
                <a:gd name="T2" fmla="*/ 9 w 25"/>
                <a:gd name="T3" fmla="*/ 6 h 37"/>
                <a:gd name="T4" fmla="*/ 14 w 25"/>
                <a:gd name="T5" fmla="*/ 35 h 37"/>
                <a:gd name="T6" fmla="*/ 21 w 25"/>
                <a:gd name="T7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37">
                  <a:moveTo>
                    <a:pt x="21" y="19"/>
                  </a:moveTo>
                  <a:cubicBezTo>
                    <a:pt x="21" y="19"/>
                    <a:pt x="18" y="0"/>
                    <a:pt x="9" y="6"/>
                  </a:cubicBezTo>
                  <a:cubicBezTo>
                    <a:pt x="0" y="12"/>
                    <a:pt x="6" y="32"/>
                    <a:pt x="14" y="35"/>
                  </a:cubicBezTo>
                  <a:cubicBezTo>
                    <a:pt x="23" y="37"/>
                    <a:pt x="25" y="29"/>
                    <a:pt x="21" y="19"/>
                  </a:cubicBezTo>
                  <a:close/>
                </a:path>
              </a:pathLst>
            </a:custGeom>
            <a:solidFill>
              <a:srgbClr val="DF9F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5" name="任意多边形 17"/>
            <p:cNvSpPr/>
            <p:nvPr/>
          </p:nvSpPr>
          <p:spPr bwMode="auto">
            <a:xfrm>
              <a:off x="6175322" y="2292050"/>
              <a:ext cx="279960" cy="146203"/>
            </a:xfrm>
            <a:custGeom>
              <a:avLst/>
              <a:gdLst>
                <a:gd name="T0" fmla="*/ 6 w 25"/>
                <a:gd name="T1" fmla="*/ 5 h 13"/>
                <a:gd name="T2" fmla="*/ 20 w 25"/>
                <a:gd name="T3" fmla="*/ 7 h 13"/>
                <a:gd name="T4" fmla="*/ 10 w 25"/>
                <a:gd name="T5" fmla="*/ 9 h 13"/>
                <a:gd name="T6" fmla="*/ 6 w 25"/>
                <a:gd name="T7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3">
                  <a:moveTo>
                    <a:pt x="6" y="5"/>
                  </a:moveTo>
                  <a:cubicBezTo>
                    <a:pt x="6" y="5"/>
                    <a:pt x="15" y="0"/>
                    <a:pt x="20" y="7"/>
                  </a:cubicBezTo>
                  <a:cubicBezTo>
                    <a:pt x="25" y="13"/>
                    <a:pt x="14" y="8"/>
                    <a:pt x="10" y="9"/>
                  </a:cubicBezTo>
                  <a:cubicBezTo>
                    <a:pt x="6" y="10"/>
                    <a:pt x="0" y="9"/>
                    <a:pt x="6" y="5"/>
                  </a:cubicBezTo>
                  <a:close/>
                </a:path>
              </a:pathLst>
            </a:custGeom>
            <a:solidFill>
              <a:srgbClr val="3E2D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6" name="任意多边形 18"/>
            <p:cNvSpPr/>
            <p:nvPr/>
          </p:nvSpPr>
          <p:spPr bwMode="auto">
            <a:xfrm>
              <a:off x="5624734" y="2301381"/>
              <a:ext cx="267518" cy="149312"/>
            </a:xfrm>
            <a:custGeom>
              <a:avLst/>
              <a:gdLst>
                <a:gd name="T0" fmla="*/ 19 w 24"/>
                <a:gd name="T1" fmla="*/ 5 h 13"/>
                <a:gd name="T2" fmla="*/ 5 w 24"/>
                <a:gd name="T3" fmla="*/ 7 h 13"/>
                <a:gd name="T4" fmla="*/ 15 w 24"/>
                <a:gd name="T5" fmla="*/ 9 h 13"/>
                <a:gd name="T6" fmla="*/ 19 w 24"/>
                <a:gd name="T7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13">
                  <a:moveTo>
                    <a:pt x="19" y="5"/>
                  </a:moveTo>
                  <a:cubicBezTo>
                    <a:pt x="19" y="5"/>
                    <a:pt x="10" y="0"/>
                    <a:pt x="5" y="7"/>
                  </a:cubicBezTo>
                  <a:cubicBezTo>
                    <a:pt x="0" y="13"/>
                    <a:pt x="11" y="8"/>
                    <a:pt x="15" y="9"/>
                  </a:cubicBezTo>
                  <a:cubicBezTo>
                    <a:pt x="19" y="9"/>
                    <a:pt x="24" y="9"/>
                    <a:pt x="19" y="5"/>
                  </a:cubicBezTo>
                  <a:close/>
                </a:path>
              </a:pathLst>
            </a:custGeom>
            <a:solidFill>
              <a:srgbClr val="3E2D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7" name="任意多边形 19"/>
            <p:cNvSpPr/>
            <p:nvPr/>
          </p:nvSpPr>
          <p:spPr bwMode="auto">
            <a:xfrm>
              <a:off x="5612291" y="2416477"/>
              <a:ext cx="370171" cy="385723"/>
            </a:xfrm>
            <a:custGeom>
              <a:avLst/>
              <a:gdLst>
                <a:gd name="T0" fmla="*/ 16 w 33"/>
                <a:gd name="T1" fmla="*/ 34 h 34"/>
                <a:gd name="T2" fmla="*/ 16 w 33"/>
                <a:gd name="T3" fmla="*/ 34 h 34"/>
                <a:gd name="T4" fmla="*/ 4 w 33"/>
                <a:gd name="T5" fmla="*/ 28 h 34"/>
                <a:gd name="T6" fmla="*/ 0 w 33"/>
                <a:gd name="T7" fmla="*/ 16 h 34"/>
                <a:gd name="T8" fmla="*/ 16 w 33"/>
                <a:gd name="T9" fmla="*/ 0 h 34"/>
                <a:gd name="T10" fmla="*/ 17 w 33"/>
                <a:gd name="T11" fmla="*/ 0 h 34"/>
                <a:gd name="T12" fmla="*/ 28 w 33"/>
                <a:gd name="T13" fmla="*/ 6 h 34"/>
                <a:gd name="T14" fmla="*/ 33 w 33"/>
                <a:gd name="T15" fmla="*/ 18 h 34"/>
                <a:gd name="T16" fmla="*/ 16 w 33"/>
                <a:gd name="T17" fmla="*/ 34 h 34"/>
                <a:gd name="T18" fmla="*/ 16 w 33"/>
                <a:gd name="T19" fmla="*/ 2 h 34"/>
                <a:gd name="T20" fmla="*/ 2 w 33"/>
                <a:gd name="T21" fmla="*/ 16 h 34"/>
                <a:gd name="T22" fmla="*/ 6 w 33"/>
                <a:gd name="T23" fmla="*/ 27 h 34"/>
                <a:gd name="T24" fmla="*/ 16 w 33"/>
                <a:gd name="T25" fmla="*/ 32 h 34"/>
                <a:gd name="T26" fmla="*/ 16 w 33"/>
                <a:gd name="T27" fmla="*/ 32 h 34"/>
                <a:gd name="T28" fmla="*/ 31 w 33"/>
                <a:gd name="T29" fmla="*/ 18 h 34"/>
                <a:gd name="T30" fmla="*/ 27 w 33"/>
                <a:gd name="T31" fmla="*/ 7 h 34"/>
                <a:gd name="T32" fmla="*/ 17 w 33"/>
                <a:gd name="T33" fmla="*/ 2 h 34"/>
                <a:gd name="T34" fmla="*/ 16 w 33"/>
                <a:gd name="T35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34">
                  <a:moveTo>
                    <a:pt x="16" y="34"/>
                  </a:moveTo>
                  <a:cubicBezTo>
                    <a:pt x="16" y="34"/>
                    <a:pt x="16" y="34"/>
                    <a:pt x="16" y="34"/>
                  </a:cubicBezTo>
                  <a:cubicBezTo>
                    <a:pt x="11" y="33"/>
                    <a:pt x="7" y="32"/>
                    <a:pt x="4" y="28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1" y="1"/>
                    <a:pt x="25" y="2"/>
                    <a:pt x="28" y="6"/>
                  </a:cubicBezTo>
                  <a:cubicBezTo>
                    <a:pt x="31" y="9"/>
                    <a:pt x="33" y="13"/>
                    <a:pt x="33" y="18"/>
                  </a:cubicBezTo>
                  <a:cubicBezTo>
                    <a:pt x="33" y="27"/>
                    <a:pt x="25" y="34"/>
                    <a:pt x="16" y="34"/>
                  </a:cubicBezTo>
                  <a:moveTo>
                    <a:pt x="16" y="2"/>
                  </a:moveTo>
                  <a:cubicBezTo>
                    <a:pt x="8" y="2"/>
                    <a:pt x="2" y="9"/>
                    <a:pt x="2" y="16"/>
                  </a:cubicBezTo>
                  <a:cubicBezTo>
                    <a:pt x="2" y="20"/>
                    <a:pt x="3" y="24"/>
                    <a:pt x="6" y="27"/>
                  </a:cubicBezTo>
                  <a:cubicBezTo>
                    <a:pt x="8" y="30"/>
                    <a:pt x="12" y="31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24" y="32"/>
                    <a:pt x="31" y="25"/>
                    <a:pt x="31" y="18"/>
                  </a:cubicBezTo>
                  <a:cubicBezTo>
                    <a:pt x="31" y="14"/>
                    <a:pt x="30" y="10"/>
                    <a:pt x="27" y="7"/>
                  </a:cubicBezTo>
                  <a:cubicBezTo>
                    <a:pt x="24" y="4"/>
                    <a:pt x="21" y="3"/>
                    <a:pt x="17" y="2"/>
                  </a:cubicBezTo>
                  <a:cubicBezTo>
                    <a:pt x="16" y="2"/>
                    <a:pt x="16" y="2"/>
                    <a:pt x="16" y="2"/>
                  </a:cubicBezTo>
                </a:path>
              </a:pathLst>
            </a:custGeom>
            <a:solidFill>
              <a:srgbClr val="FFFC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8" name="任意多边形 20"/>
            <p:cNvSpPr/>
            <p:nvPr/>
          </p:nvSpPr>
          <p:spPr bwMode="auto">
            <a:xfrm>
              <a:off x="6072671" y="2394701"/>
              <a:ext cx="373281" cy="373281"/>
            </a:xfrm>
            <a:custGeom>
              <a:avLst/>
              <a:gdLst>
                <a:gd name="T0" fmla="*/ 17 w 33"/>
                <a:gd name="T1" fmla="*/ 33 h 33"/>
                <a:gd name="T2" fmla="*/ 16 w 33"/>
                <a:gd name="T3" fmla="*/ 33 h 33"/>
                <a:gd name="T4" fmla="*/ 5 w 33"/>
                <a:gd name="T5" fmla="*/ 28 h 33"/>
                <a:gd name="T6" fmla="*/ 0 w 33"/>
                <a:gd name="T7" fmla="*/ 16 h 33"/>
                <a:gd name="T8" fmla="*/ 17 w 33"/>
                <a:gd name="T9" fmla="*/ 0 h 33"/>
                <a:gd name="T10" fmla="*/ 17 w 33"/>
                <a:gd name="T11" fmla="*/ 0 h 33"/>
                <a:gd name="T12" fmla="*/ 29 w 33"/>
                <a:gd name="T13" fmla="*/ 5 h 33"/>
                <a:gd name="T14" fmla="*/ 33 w 33"/>
                <a:gd name="T15" fmla="*/ 17 h 33"/>
                <a:gd name="T16" fmla="*/ 17 w 33"/>
                <a:gd name="T17" fmla="*/ 33 h 33"/>
                <a:gd name="T18" fmla="*/ 17 w 33"/>
                <a:gd name="T19" fmla="*/ 2 h 33"/>
                <a:gd name="T20" fmla="*/ 2 w 33"/>
                <a:gd name="T21" fmla="*/ 16 h 33"/>
                <a:gd name="T22" fmla="*/ 6 w 33"/>
                <a:gd name="T23" fmla="*/ 27 h 33"/>
                <a:gd name="T24" fmla="*/ 16 w 33"/>
                <a:gd name="T25" fmla="*/ 31 h 33"/>
                <a:gd name="T26" fmla="*/ 17 w 33"/>
                <a:gd name="T27" fmla="*/ 31 h 33"/>
                <a:gd name="T28" fmla="*/ 31 w 33"/>
                <a:gd name="T29" fmla="*/ 17 h 33"/>
                <a:gd name="T30" fmla="*/ 27 w 33"/>
                <a:gd name="T31" fmla="*/ 7 h 33"/>
                <a:gd name="T32" fmla="*/ 17 w 33"/>
                <a:gd name="T33" fmla="*/ 2 h 33"/>
                <a:gd name="T34" fmla="*/ 17 w 33"/>
                <a:gd name="T35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33">
                  <a:moveTo>
                    <a:pt x="17" y="33"/>
                  </a:moveTo>
                  <a:cubicBezTo>
                    <a:pt x="16" y="33"/>
                    <a:pt x="16" y="33"/>
                    <a:pt x="16" y="33"/>
                  </a:cubicBezTo>
                  <a:cubicBezTo>
                    <a:pt x="12" y="33"/>
                    <a:pt x="8" y="31"/>
                    <a:pt x="5" y="28"/>
                  </a:cubicBezTo>
                  <a:cubicBezTo>
                    <a:pt x="2" y="25"/>
                    <a:pt x="0" y="20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2" y="0"/>
                    <a:pt x="26" y="2"/>
                    <a:pt x="29" y="5"/>
                  </a:cubicBezTo>
                  <a:cubicBezTo>
                    <a:pt x="32" y="9"/>
                    <a:pt x="33" y="13"/>
                    <a:pt x="33" y="17"/>
                  </a:cubicBezTo>
                  <a:cubicBezTo>
                    <a:pt x="33" y="26"/>
                    <a:pt x="26" y="33"/>
                    <a:pt x="17" y="33"/>
                  </a:cubicBezTo>
                  <a:moveTo>
                    <a:pt x="17" y="2"/>
                  </a:moveTo>
                  <a:cubicBezTo>
                    <a:pt x="9" y="2"/>
                    <a:pt x="2" y="8"/>
                    <a:pt x="2" y="16"/>
                  </a:cubicBezTo>
                  <a:cubicBezTo>
                    <a:pt x="2" y="20"/>
                    <a:pt x="3" y="24"/>
                    <a:pt x="6" y="27"/>
                  </a:cubicBezTo>
                  <a:cubicBezTo>
                    <a:pt x="9" y="29"/>
                    <a:pt x="12" y="31"/>
                    <a:pt x="16" y="31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25" y="31"/>
                    <a:pt x="31" y="25"/>
                    <a:pt x="31" y="17"/>
                  </a:cubicBezTo>
                  <a:cubicBezTo>
                    <a:pt x="31" y="13"/>
                    <a:pt x="30" y="10"/>
                    <a:pt x="27" y="7"/>
                  </a:cubicBezTo>
                  <a:cubicBezTo>
                    <a:pt x="25" y="4"/>
                    <a:pt x="21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</a:path>
              </a:pathLst>
            </a:custGeom>
            <a:solidFill>
              <a:srgbClr val="FFFC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29" name="任意多边形 21"/>
            <p:cNvSpPr/>
            <p:nvPr/>
          </p:nvSpPr>
          <p:spPr bwMode="auto">
            <a:xfrm>
              <a:off x="5543857" y="2528461"/>
              <a:ext cx="90210" cy="46661"/>
            </a:xfrm>
            <a:custGeom>
              <a:avLst/>
              <a:gdLst>
                <a:gd name="T0" fmla="*/ 7 w 8"/>
                <a:gd name="T1" fmla="*/ 4 h 4"/>
                <a:gd name="T2" fmla="*/ 7 w 8"/>
                <a:gd name="T3" fmla="*/ 4 h 4"/>
                <a:gd name="T4" fmla="*/ 1 w 8"/>
                <a:gd name="T5" fmla="*/ 2 h 4"/>
                <a:gd name="T6" fmla="*/ 0 w 8"/>
                <a:gd name="T7" fmla="*/ 0 h 4"/>
                <a:gd name="T8" fmla="*/ 2 w 8"/>
                <a:gd name="T9" fmla="*/ 0 h 4"/>
                <a:gd name="T10" fmla="*/ 8 w 8"/>
                <a:gd name="T11" fmla="*/ 2 h 4"/>
                <a:gd name="T12" fmla="*/ 8 w 8"/>
                <a:gd name="T13" fmla="*/ 3 h 4"/>
                <a:gd name="T14" fmla="*/ 7 w 8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4">
                  <a:moveTo>
                    <a:pt x="7" y="4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3"/>
                    <a:pt x="8" y="3"/>
                  </a:cubicBezTo>
                  <a:cubicBezTo>
                    <a:pt x="8" y="4"/>
                    <a:pt x="8" y="4"/>
                    <a:pt x="7" y="4"/>
                  </a:cubicBezTo>
                  <a:close/>
                </a:path>
              </a:pathLst>
            </a:custGeom>
            <a:solidFill>
              <a:srgbClr val="FFFC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0" name="任意多边形 22"/>
            <p:cNvSpPr/>
            <p:nvPr/>
          </p:nvSpPr>
          <p:spPr bwMode="auto">
            <a:xfrm>
              <a:off x="6421066" y="2494243"/>
              <a:ext cx="115096" cy="46661"/>
            </a:xfrm>
            <a:custGeom>
              <a:avLst/>
              <a:gdLst>
                <a:gd name="T0" fmla="*/ 1 w 10"/>
                <a:gd name="T1" fmla="*/ 4 h 4"/>
                <a:gd name="T2" fmla="*/ 0 w 10"/>
                <a:gd name="T3" fmla="*/ 4 h 4"/>
                <a:gd name="T4" fmla="*/ 0 w 10"/>
                <a:gd name="T5" fmla="*/ 2 h 4"/>
                <a:gd name="T6" fmla="*/ 9 w 10"/>
                <a:gd name="T7" fmla="*/ 0 h 4"/>
                <a:gd name="T8" fmla="*/ 10 w 10"/>
                <a:gd name="T9" fmla="*/ 1 h 4"/>
                <a:gd name="T10" fmla="*/ 9 w 10"/>
                <a:gd name="T11" fmla="*/ 2 h 4"/>
                <a:gd name="T12" fmla="*/ 1 w 10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1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10" y="0"/>
                    <a:pt x="10" y="1"/>
                  </a:cubicBezTo>
                  <a:cubicBezTo>
                    <a:pt x="10" y="1"/>
                    <a:pt x="10" y="2"/>
                    <a:pt x="9" y="2"/>
                  </a:cubicBezTo>
                  <a:cubicBezTo>
                    <a:pt x="1" y="4"/>
                    <a:pt x="1" y="4"/>
                    <a:pt x="1" y="4"/>
                  </a:cubicBezTo>
                  <a:close/>
                </a:path>
              </a:pathLst>
            </a:custGeom>
            <a:solidFill>
              <a:srgbClr val="FFFC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1" name="任意多边形 23"/>
            <p:cNvSpPr/>
            <p:nvPr/>
          </p:nvSpPr>
          <p:spPr bwMode="auto">
            <a:xfrm>
              <a:off x="5534524" y="1645030"/>
              <a:ext cx="1045186" cy="780780"/>
            </a:xfrm>
            <a:custGeom>
              <a:avLst/>
              <a:gdLst>
                <a:gd name="T0" fmla="*/ 38 w 93"/>
                <a:gd name="T1" fmla="*/ 13 h 69"/>
                <a:gd name="T2" fmla="*/ 51 w 93"/>
                <a:gd name="T3" fmla="*/ 58 h 69"/>
                <a:gd name="T4" fmla="*/ 92 w 93"/>
                <a:gd name="T5" fmla="*/ 56 h 69"/>
                <a:gd name="T6" fmla="*/ 54 w 93"/>
                <a:gd name="T7" fmla="*/ 10 h 69"/>
                <a:gd name="T8" fmla="*/ 4 w 93"/>
                <a:gd name="T9" fmla="*/ 57 h 69"/>
                <a:gd name="T10" fmla="*/ 37 w 93"/>
                <a:gd name="T11" fmla="*/ 57 h 69"/>
                <a:gd name="T12" fmla="*/ 38 w 93"/>
                <a:gd name="T13" fmla="*/ 1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69">
                  <a:moveTo>
                    <a:pt x="38" y="13"/>
                  </a:moveTo>
                  <a:cubicBezTo>
                    <a:pt x="38" y="13"/>
                    <a:pt x="40" y="54"/>
                    <a:pt x="51" y="58"/>
                  </a:cubicBezTo>
                  <a:cubicBezTo>
                    <a:pt x="63" y="61"/>
                    <a:pt x="90" y="60"/>
                    <a:pt x="92" y="56"/>
                  </a:cubicBezTo>
                  <a:cubicBezTo>
                    <a:pt x="93" y="51"/>
                    <a:pt x="70" y="15"/>
                    <a:pt x="54" y="10"/>
                  </a:cubicBezTo>
                  <a:cubicBezTo>
                    <a:pt x="25" y="0"/>
                    <a:pt x="0" y="46"/>
                    <a:pt x="4" y="57"/>
                  </a:cubicBezTo>
                  <a:cubicBezTo>
                    <a:pt x="7" y="69"/>
                    <a:pt x="31" y="59"/>
                    <a:pt x="37" y="57"/>
                  </a:cubicBezTo>
                  <a:cubicBezTo>
                    <a:pt x="42" y="56"/>
                    <a:pt x="37" y="21"/>
                    <a:pt x="38" y="13"/>
                  </a:cubicBezTo>
                  <a:close/>
                </a:path>
              </a:pathLst>
            </a:custGeom>
            <a:solidFill>
              <a:srgbClr val="3E2D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2" name="任意多边形 24"/>
            <p:cNvSpPr/>
            <p:nvPr/>
          </p:nvSpPr>
          <p:spPr bwMode="auto">
            <a:xfrm>
              <a:off x="5904695" y="2665330"/>
              <a:ext cx="248854" cy="90210"/>
            </a:xfrm>
            <a:custGeom>
              <a:avLst/>
              <a:gdLst>
                <a:gd name="T0" fmla="*/ 5 w 22"/>
                <a:gd name="T1" fmla="*/ 2 h 8"/>
                <a:gd name="T2" fmla="*/ 0 w 22"/>
                <a:gd name="T3" fmla="*/ 8 h 8"/>
                <a:gd name="T4" fmla="*/ 6 w 22"/>
                <a:gd name="T5" fmla="*/ 7 h 8"/>
                <a:gd name="T6" fmla="*/ 5 w 22"/>
                <a:gd name="T7" fmla="*/ 2 h 8"/>
                <a:gd name="T8" fmla="*/ 17 w 22"/>
                <a:gd name="T9" fmla="*/ 0 h 8"/>
                <a:gd name="T10" fmla="*/ 18 w 22"/>
                <a:gd name="T11" fmla="*/ 6 h 8"/>
                <a:gd name="T12" fmla="*/ 22 w 22"/>
                <a:gd name="T13" fmla="*/ 6 h 8"/>
                <a:gd name="T14" fmla="*/ 20 w 22"/>
                <a:gd name="T15" fmla="*/ 4 h 8"/>
                <a:gd name="T16" fmla="*/ 17 w 22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8">
                  <a:moveTo>
                    <a:pt x="5" y="2"/>
                  </a:moveTo>
                  <a:cubicBezTo>
                    <a:pt x="4" y="4"/>
                    <a:pt x="3" y="6"/>
                    <a:pt x="0" y="8"/>
                  </a:cubicBezTo>
                  <a:cubicBezTo>
                    <a:pt x="2" y="8"/>
                    <a:pt x="4" y="7"/>
                    <a:pt x="6" y="7"/>
                  </a:cubicBezTo>
                  <a:cubicBezTo>
                    <a:pt x="6" y="6"/>
                    <a:pt x="5" y="4"/>
                    <a:pt x="5" y="2"/>
                  </a:cubicBezTo>
                  <a:moveTo>
                    <a:pt x="17" y="0"/>
                  </a:moveTo>
                  <a:cubicBezTo>
                    <a:pt x="18" y="3"/>
                    <a:pt x="18" y="5"/>
                    <a:pt x="18" y="6"/>
                  </a:cubicBezTo>
                  <a:cubicBezTo>
                    <a:pt x="19" y="6"/>
                    <a:pt x="21" y="6"/>
                    <a:pt x="22" y="6"/>
                  </a:cubicBezTo>
                  <a:cubicBezTo>
                    <a:pt x="21" y="5"/>
                    <a:pt x="20" y="5"/>
                    <a:pt x="20" y="4"/>
                  </a:cubicBezTo>
                  <a:cubicBezTo>
                    <a:pt x="19" y="3"/>
                    <a:pt x="18" y="2"/>
                    <a:pt x="17" y="0"/>
                  </a:cubicBezTo>
                </a:path>
              </a:pathLst>
            </a:custGeom>
            <a:solidFill>
              <a:srgbClr val="D89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3" name="任意多边形 25"/>
            <p:cNvSpPr/>
            <p:nvPr/>
          </p:nvSpPr>
          <p:spPr bwMode="auto">
            <a:xfrm>
              <a:off x="5960687" y="2618669"/>
              <a:ext cx="146203" cy="124427"/>
            </a:xfrm>
            <a:custGeom>
              <a:avLst/>
              <a:gdLst>
                <a:gd name="T0" fmla="*/ 6 w 13"/>
                <a:gd name="T1" fmla="*/ 0 h 11"/>
                <a:gd name="T2" fmla="*/ 2 w 13"/>
                <a:gd name="T3" fmla="*/ 1 h 11"/>
                <a:gd name="T4" fmla="*/ 0 w 13"/>
                <a:gd name="T5" fmla="*/ 6 h 11"/>
                <a:gd name="T6" fmla="*/ 1 w 13"/>
                <a:gd name="T7" fmla="*/ 11 h 11"/>
                <a:gd name="T8" fmla="*/ 8 w 13"/>
                <a:gd name="T9" fmla="*/ 10 h 11"/>
                <a:gd name="T10" fmla="*/ 11 w 13"/>
                <a:gd name="T11" fmla="*/ 10 h 11"/>
                <a:gd name="T12" fmla="*/ 13 w 13"/>
                <a:gd name="T13" fmla="*/ 10 h 11"/>
                <a:gd name="T14" fmla="*/ 12 w 13"/>
                <a:gd name="T15" fmla="*/ 4 h 11"/>
                <a:gd name="T16" fmla="*/ 11 w 13"/>
                <a:gd name="T17" fmla="*/ 1 h 11"/>
                <a:gd name="T18" fmla="*/ 9 w 13"/>
                <a:gd name="T19" fmla="*/ 1 h 11"/>
                <a:gd name="T20" fmla="*/ 6 w 13"/>
                <a:gd name="T2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1">
                  <a:moveTo>
                    <a:pt x="6" y="0"/>
                  </a:moveTo>
                  <a:cubicBezTo>
                    <a:pt x="5" y="0"/>
                    <a:pt x="3" y="1"/>
                    <a:pt x="2" y="1"/>
                  </a:cubicBezTo>
                  <a:cubicBezTo>
                    <a:pt x="2" y="3"/>
                    <a:pt x="1" y="4"/>
                    <a:pt x="0" y="6"/>
                  </a:cubicBezTo>
                  <a:cubicBezTo>
                    <a:pt x="0" y="8"/>
                    <a:pt x="1" y="10"/>
                    <a:pt x="1" y="11"/>
                  </a:cubicBezTo>
                  <a:cubicBezTo>
                    <a:pt x="4" y="11"/>
                    <a:pt x="6" y="10"/>
                    <a:pt x="8" y="10"/>
                  </a:cubicBezTo>
                  <a:cubicBezTo>
                    <a:pt x="9" y="10"/>
                    <a:pt x="10" y="10"/>
                    <a:pt x="11" y="10"/>
                  </a:cubicBezTo>
                  <a:cubicBezTo>
                    <a:pt x="12" y="10"/>
                    <a:pt x="13" y="10"/>
                    <a:pt x="13" y="10"/>
                  </a:cubicBezTo>
                  <a:cubicBezTo>
                    <a:pt x="13" y="9"/>
                    <a:pt x="13" y="7"/>
                    <a:pt x="12" y="4"/>
                  </a:cubicBezTo>
                  <a:cubicBezTo>
                    <a:pt x="11" y="3"/>
                    <a:pt x="11" y="2"/>
                    <a:pt x="11" y="1"/>
                  </a:cubicBezTo>
                  <a:cubicBezTo>
                    <a:pt x="10" y="1"/>
                    <a:pt x="10" y="1"/>
                    <a:pt x="9" y="1"/>
                  </a:cubicBezTo>
                  <a:cubicBezTo>
                    <a:pt x="8" y="0"/>
                    <a:pt x="7" y="0"/>
                    <a:pt x="6" y="0"/>
                  </a:cubicBezTo>
                </a:path>
              </a:pathLst>
            </a:custGeom>
            <a:solidFill>
              <a:srgbClr val="C05C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4" name="任意多边形 26"/>
            <p:cNvSpPr/>
            <p:nvPr/>
          </p:nvSpPr>
          <p:spPr bwMode="auto">
            <a:xfrm>
              <a:off x="5634065" y="2631112"/>
              <a:ext cx="787001" cy="158645"/>
            </a:xfrm>
            <a:custGeom>
              <a:avLst/>
              <a:gdLst>
                <a:gd name="T0" fmla="*/ 3 w 70"/>
                <a:gd name="T1" fmla="*/ 10 h 14"/>
                <a:gd name="T2" fmla="*/ 1 w 70"/>
                <a:gd name="T3" fmla="*/ 11 h 14"/>
                <a:gd name="T4" fmla="*/ 5 w 70"/>
                <a:gd name="T5" fmla="*/ 14 h 14"/>
                <a:gd name="T6" fmla="*/ 9 w 70"/>
                <a:gd name="T7" fmla="*/ 14 h 14"/>
                <a:gd name="T8" fmla="*/ 3 w 70"/>
                <a:gd name="T9" fmla="*/ 10 h 14"/>
                <a:gd name="T10" fmla="*/ 69 w 70"/>
                <a:gd name="T11" fmla="*/ 6 h 14"/>
                <a:gd name="T12" fmla="*/ 66 w 70"/>
                <a:gd name="T13" fmla="*/ 9 h 14"/>
                <a:gd name="T14" fmla="*/ 70 w 70"/>
                <a:gd name="T15" fmla="*/ 7 h 14"/>
                <a:gd name="T16" fmla="*/ 69 w 70"/>
                <a:gd name="T17" fmla="*/ 6 h 14"/>
                <a:gd name="T18" fmla="*/ 42 w 70"/>
                <a:gd name="T19" fmla="*/ 0 h 14"/>
                <a:gd name="T20" fmla="*/ 45 w 70"/>
                <a:gd name="T21" fmla="*/ 6 h 14"/>
                <a:gd name="T22" fmla="*/ 50 w 70"/>
                <a:gd name="T23" fmla="*/ 9 h 14"/>
                <a:gd name="T24" fmla="*/ 57 w 70"/>
                <a:gd name="T25" fmla="*/ 9 h 14"/>
                <a:gd name="T26" fmla="*/ 61 w 70"/>
                <a:gd name="T27" fmla="*/ 9 h 14"/>
                <a:gd name="T28" fmla="*/ 67 w 70"/>
                <a:gd name="T29" fmla="*/ 5 h 14"/>
                <a:gd name="T30" fmla="*/ 42 w 70"/>
                <a:gd name="T31" fmla="*/ 0 h 14"/>
                <a:gd name="T32" fmla="*/ 29 w 70"/>
                <a:gd name="T33" fmla="*/ 0 h 14"/>
                <a:gd name="T34" fmla="*/ 5 w 70"/>
                <a:gd name="T35" fmla="*/ 9 h 14"/>
                <a:gd name="T36" fmla="*/ 14 w 70"/>
                <a:gd name="T37" fmla="*/ 13 h 14"/>
                <a:gd name="T38" fmla="*/ 14 w 70"/>
                <a:gd name="T39" fmla="*/ 13 h 14"/>
                <a:gd name="T40" fmla="*/ 29 w 70"/>
                <a:gd name="T41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0" h="14">
                  <a:moveTo>
                    <a:pt x="3" y="10"/>
                  </a:moveTo>
                  <a:cubicBezTo>
                    <a:pt x="2" y="11"/>
                    <a:pt x="1" y="11"/>
                    <a:pt x="1" y="11"/>
                  </a:cubicBezTo>
                  <a:cubicBezTo>
                    <a:pt x="0" y="13"/>
                    <a:pt x="2" y="14"/>
                    <a:pt x="5" y="14"/>
                  </a:cubicBezTo>
                  <a:cubicBezTo>
                    <a:pt x="6" y="14"/>
                    <a:pt x="8" y="14"/>
                    <a:pt x="9" y="14"/>
                  </a:cubicBezTo>
                  <a:cubicBezTo>
                    <a:pt x="7" y="13"/>
                    <a:pt x="5" y="12"/>
                    <a:pt x="3" y="10"/>
                  </a:cubicBezTo>
                  <a:moveTo>
                    <a:pt x="69" y="6"/>
                  </a:moveTo>
                  <a:cubicBezTo>
                    <a:pt x="68" y="7"/>
                    <a:pt x="67" y="8"/>
                    <a:pt x="66" y="9"/>
                  </a:cubicBezTo>
                  <a:cubicBezTo>
                    <a:pt x="68" y="9"/>
                    <a:pt x="70" y="8"/>
                    <a:pt x="70" y="7"/>
                  </a:cubicBezTo>
                  <a:cubicBezTo>
                    <a:pt x="70" y="6"/>
                    <a:pt x="69" y="6"/>
                    <a:pt x="69" y="6"/>
                  </a:cubicBezTo>
                  <a:moveTo>
                    <a:pt x="42" y="0"/>
                  </a:moveTo>
                  <a:cubicBezTo>
                    <a:pt x="42" y="2"/>
                    <a:pt x="44" y="4"/>
                    <a:pt x="45" y="6"/>
                  </a:cubicBezTo>
                  <a:cubicBezTo>
                    <a:pt x="46" y="7"/>
                    <a:pt x="48" y="8"/>
                    <a:pt x="50" y="9"/>
                  </a:cubicBezTo>
                  <a:cubicBezTo>
                    <a:pt x="52" y="9"/>
                    <a:pt x="55" y="9"/>
                    <a:pt x="57" y="9"/>
                  </a:cubicBezTo>
                  <a:cubicBezTo>
                    <a:pt x="59" y="9"/>
                    <a:pt x="60" y="9"/>
                    <a:pt x="61" y="9"/>
                  </a:cubicBezTo>
                  <a:cubicBezTo>
                    <a:pt x="64" y="8"/>
                    <a:pt x="66" y="7"/>
                    <a:pt x="67" y="5"/>
                  </a:cubicBezTo>
                  <a:cubicBezTo>
                    <a:pt x="62" y="3"/>
                    <a:pt x="51" y="2"/>
                    <a:pt x="42" y="0"/>
                  </a:cubicBezTo>
                  <a:moveTo>
                    <a:pt x="29" y="0"/>
                  </a:moveTo>
                  <a:cubicBezTo>
                    <a:pt x="20" y="2"/>
                    <a:pt x="11" y="7"/>
                    <a:pt x="5" y="9"/>
                  </a:cubicBezTo>
                  <a:cubicBezTo>
                    <a:pt x="8" y="11"/>
                    <a:pt x="11" y="12"/>
                    <a:pt x="14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22" y="13"/>
                    <a:pt x="28" y="7"/>
                    <a:pt x="29" y="0"/>
                  </a:cubicBezTo>
                </a:path>
              </a:pathLst>
            </a:custGeom>
            <a:solidFill>
              <a:srgbClr val="D89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5" name="任意多边形 27"/>
            <p:cNvSpPr/>
            <p:nvPr/>
          </p:nvSpPr>
          <p:spPr bwMode="auto">
            <a:xfrm>
              <a:off x="5668284" y="2631112"/>
              <a:ext cx="314179" cy="158645"/>
            </a:xfrm>
            <a:custGeom>
              <a:avLst/>
              <a:gdLst>
                <a:gd name="T0" fmla="*/ 28 w 28"/>
                <a:gd name="T1" fmla="*/ 0 h 14"/>
                <a:gd name="T2" fmla="*/ 26 w 28"/>
                <a:gd name="T3" fmla="*/ 0 h 14"/>
                <a:gd name="T4" fmla="*/ 11 w 28"/>
                <a:gd name="T5" fmla="*/ 13 h 14"/>
                <a:gd name="T6" fmla="*/ 11 w 28"/>
                <a:gd name="T7" fmla="*/ 13 h 14"/>
                <a:gd name="T8" fmla="*/ 2 w 28"/>
                <a:gd name="T9" fmla="*/ 9 h 14"/>
                <a:gd name="T10" fmla="*/ 0 w 28"/>
                <a:gd name="T11" fmla="*/ 10 h 14"/>
                <a:gd name="T12" fmla="*/ 6 w 28"/>
                <a:gd name="T13" fmla="*/ 14 h 14"/>
                <a:gd name="T14" fmla="*/ 21 w 28"/>
                <a:gd name="T15" fmla="*/ 11 h 14"/>
                <a:gd name="T16" fmla="*/ 26 w 28"/>
                <a:gd name="T17" fmla="*/ 5 h 14"/>
                <a:gd name="T18" fmla="*/ 28 w 28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4">
                  <a:moveTo>
                    <a:pt x="28" y="0"/>
                  </a:moveTo>
                  <a:cubicBezTo>
                    <a:pt x="27" y="0"/>
                    <a:pt x="26" y="0"/>
                    <a:pt x="26" y="0"/>
                  </a:cubicBezTo>
                  <a:cubicBezTo>
                    <a:pt x="25" y="7"/>
                    <a:pt x="19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2"/>
                    <a:pt x="5" y="11"/>
                    <a:pt x="2" y="9"/>
                  </a:cubicBezTo>
                  <a:cubicBezTo>
                    <a:pt x="1" y="10"/>
                    <a:pt x="1" y="10"/>
                    <a:pt x="0" y="10"/>
                  </a:cubicBezTo>
                  <a:cubicBezTo>
                    <a:pt x="2" y="12"/>
                    <a:pt x="4" y="13"/>
                    <a:pt x="6" y="14"/>
                  </a:cubicBezTo>
                  <a:cubicBezTo>
                    <a:pt x="11" y="13"/>
                    <a:pt x="16" y="12"/>
                    <a:pt x="21" y="11"/>
                  </a:cubicBezTo>
                  <a:cubicBezTo>
                    <a:pt x="24" y="9"/>
                    <a:pt x="25" y="7"/>
                    <a:pt x="26" y="5"/>
                  </a:cubicBezTo>
                  <a:cubicBezTo>
                    <a:pt x="27" y="3"/>
                    <a:pt x="28" y="2"/>
                    <a:pt x="28" y="0"/>
                  </a:cubicBezTo>
                </a:path>
              </a:pathLst>
            </a:custGeom>
            <a:solidFill>
              <a:srgbClr val="F2DA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6" name="任意多边形 28"/>
            <p:cNvSpPr/>
            <p:nvPr/>
          </p:nvSpPr>
          <p:spPr bwMode="auto">
            <a:xfrm>
              <a:off x="6085114" y="2631112"/>
              <a:ext cx="326622" cy="102653"/>
            </a:xfrm>
            <a:custGeom>
              <a:avLst/>
              <a:gdLst>
                <a:gd name="T0" fmla="*/ 27 w 29"/>
                <a:gd name="T1" fmla="*/ 5 h 9"/>
                <a:gd name="T2" fmla="*/ 21 w 29"/>
                <a:gd name="T3" fmla="*/ 9 h 9"/>
                <a:gd name="T4" fmla="*/ 26 w 29"/>
                <a:gd name="T5" fmla="*/ 9 h 9"/>
                <a:gd name="T6" fmla="*/ 29 w 29"/>
                <a:gd name="T7" fmla="*/ 6 h 9"/>
                <a:gd name="T8" fmla="*/ 27 w 29"/>
                <a:gd name="T9" fmla="*/ 5 h 9"/>
                <a:gd name="T10" fmla="*/ 0 w 29"/>
                <a:gd name="T11" fmla="*/ 0 h 9"/>
                <a:gd name="T12" fmla="*/ 1 w 29"/>
                <a:gd name="T13" fmla="*/ 3 h 9"/>
                <a:gd name="T14" fmla="*/ 4 w 29"/>
                <a:gd name="T15" fmla="*/ 7 h 9"/>
                <a:gd name="T16" fmla="*/ 6 w 29"/>
                <a:gd name="T17" fmla="*/ 9 h 9"/>
                <a:gd name="T18" fmla="*/ 8 w 29"/>
                <a:gd name="T19" fmla="*/ 9 h 9"/>
                <a:gd name="T20" fmla="*/ 10 w 29"/>
                <a:gd name="T21" fmla="*/ 9 h 9"/>
                <a:gd name="T22" fmla="*/ 5 w 29"/>
                <a:gd name="T23" fmla="*/ 6 h 9"/>
                <a:gd name="T24" fmla="*/ 2 w 29"/>
                <a:gd name="T25" fmla="*/ 0 h 9"/>
                <a:gd name="T26" fmla="*/ 0 w 29"/>
                <a:gd name="T2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9">
                  <a:moveTo>
                    <a:pt x="27" y="5"/>
                  </a:moveTo>
                  <a:cubicBezTo>
                    <a:pt x="26" y="7"/>
                    <a:pt x="24" y="8"/>
                    <a:pt x="21" y="9"/>
                  </a:cubicBezTo>
                  <a:cubicBezTo>
                    <a:pt x="23" y="9"/>
                    <a:pt x="24" y="9"/>
                    <a:pt x="26" y="9"/>
                  </a:cubicBezTo>
                  <a:cubicBezTo>
                    <a:pt x="27" y="8"/>
                    <a:pt x="28" y="7"/>
                    <a:pt x="29" y="6"/>
                  </a:cubicBezTo>
                  <a:cubicBezTo>
                    <a:pt x="28" y="5"/>
                    <a:pt x="28" y="5"/>
                    <a:pt x="27" y="5"/>
                  </a:cubicBezTo>
                  <a:moveTo>
                    <a:pt x="0" y="0"/>
                  </a:moveTo>
                  <a:cubicBezTo>
                    <a:pt x="0" y="1"/>
                    <a:pt x="0" y="2"/>
                    <a:pt x="1" y="3"/>
                  </a:cubicBezTo>
                  <a:cubicBezTo>
                    <a:pt x="2" y="5"/>
                    <a:pt x="3" y="6"/>
                    <a:pt x="4" y="7"/>
                  </a:cubicBezTo>
                  <a:cubicBezTo>
                    <a:pt x="4" y="8"/>
                    <a:pt x="5" y="8"/>
                    <a:pt x="6" y="9"/>
                  </a:cubicBezTo>
                  <a:cubicBezTo>
                    <a:pt x="7" y="9"/>
                    <a:pt x="7" y="9"/>
                    <a:pt x="8" y="9"/>
                  </a:cubicBezTo>
                  <a:cubicBezTo>
                    <a:pt x="9" y="9"/>
                    <a:pt x="9" y="9"/>
                    <a:pt x="10" y="9"/>
                  </a:cubicBezTo>
                  <a:cubicBezTo>
                    <a:pt x="8" y="8"/>
                    <a:pt x="6" y="7"/>
                    <a:pt x="5" y="6"/>
                  </a:cubicBezTo>
                  <a:cubicBezTo>
                    <a:pt x="4" y="4"/>
                    <a:pt x="2" y="2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F2DA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7" name="任意多边形 29"/>
            <p:cNvSpPr/>
            <p:nvPr/>
          </p:nvSpPr>
          <p:spPr bwMode="auto">
            <a:xfrm>
              <a:off x="5792710" y="2596896"/>
              <a:ext cx="77768" cy="55992"/>
            </a:xfrm>
            <a:custGeom>
              <a:avLst/>
              <a:gdLst>
                <a:gd name="T0" fmla="*/ 1 w 7"/>
                <a:gd name="T1" fmla="*/ 5 h 5"/>
                <a:gd name="T2" fmla="*/ 0 w 7"/>
                <a:gd name="T3" fmla="*/ 4 h 5"/>
                <a:gd name="T4" fmla="*/ 1 w 7"/>
                <a:gd name="T5" fmla="*/ 3 h 5"/>
                <a:gd name="T6" fmla="*/ 4 w 7"/>
                <a:gd name="T7" fmla="*/ 1 h 5"/>
                <a:gd name="T8" fmla="*/ 6 w 7"/>
                <a:gd name="T9" fmla="*/ 0 h 5"/>
                <a:gd name="T10" fmla="*/ 6 w 7"/>
                <a:gd name="T11" fmla="*/ 2 h 5"/>
                <a:gd name="T12" fmla="*/ 2 w 7"/>
                <a:gd name="T13" fmla="*/ 5 h 5"/>
                <a:gd name="T14" fmla="*/ 1 w 7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5">
                  <a:moveTo>
                    <a:pt x="1" y="5"/>
                  </a:moveTo>
                  <a:cubicBezTo>
                    <a:pt x="1" y="5"/>
                    <a:pt x="0" y="5"/>
                    <a:pt x="0" y="4"/>
                  </a:cubicBezTo>
                  <a:cubicBezTo>
                    <a:pt x="0" y="4"/>
                    <a:pt x="0" y="3"/>
                    <a:pt x="1" y="3"/>
                  </a:cubicBezTo>
                  <a:cubicBezTo>
                    <a:pt x="3" y="2"/>
                    <a:pt x="4" y="1"/>
                    <a:pt x="4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6" y="0"/>
                    <a:pt x="7" y="1"/>
                    <a:pt x="6" y="2"/>
                  </a:cubicBezTo>
                  <a:cubicBezTo>
                    <a:pt x="6" y="3"/>
                    <a:pt x="5" y="4"/>
                    <a:pt x="2" y="5"/>
                  </a:cubicBezTo>
                  <a:lnTo>
                    <a:pt x="1" y="5"/>
                  </a:lnTo>
                  <a:close/>
                </a:path>
              </a:pathLst>
            </a:custGeom>
            <a:solidFill>
              <a:srgbClr val="C05C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" name="任意多边形 30"/>
            <p:cNvSpPr/>
            <p:nvPr/>
          </p:nvSpPr>
          <p:spPr bwMode="auto">
            <a:xfrm>
              <a:off x="6184655" y="2596896"/>
              <a:ext cx="90210" cy="46661"/>
            </a:xfrm>
            <a:custGeom>
              <a:avLst/>
              <a:gdLst>
                <a:gd name="T0" fmla="*/ 6 w 8"/>
                <a:gd name="T1" fmla="*/ 4 h 4"/>
                <a:gd name="T2" fmla="*/ 1 w 8"/>
                <a:gd name="T3" fmla="*/ 3 h 4"/>
                <a:gd name="T4" fmla="*/ 1 w 8"/>
                <a:gd name="T5" fmla="*/ 1 h 4"/>
                <a:gd name="T6" fmla="*/ 3 w 8"/>
                <a:gd name="T7" fmla="*/ 0 h 4"/>
                <a:gd name="T8" fmla="*/ 6 w 8"/>
                <a:gd name="T9" fmla="*/ 1 h 4"/>
                <a:gd name="T10" fmla="*/ 8 w 8"/>
                <a:gd name="T11" fmla="*/ 2 h 4"/>
                <a:gd name="T12" fmla="*/ 7 w 8"/>
                <a:gd name="T13" fmla="*/ 4 h 4"/>
                <a:gd name="T14" fmla="*/ 6 w 8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4">
                  <a:moveTo>
                    <a:pt x="6" y="4"/>
                  </a:moveTo>
                  <a:cubicBezTo>
                    <a:pt x="5" y="4"/>
                    <a:pt x="3" y="4"/>
                    <a:pt x="1" y="3"/>
                  </a:cubicBezTo>
                  <a:cubicBezTo>
                    <a:pt x="1" y="3"/>
                    <a:pt x="0" y="2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5" y="1"/>
                    <a:pt x="6" y="1"/>
                    <a:pt x="6" y="1"/>
                  </a:cubicBezTo>
                  <a:cubicBezTo>
                    <a:pt x="7" y="1"/>
                    <a:pt x="7" y="1"/>
                    <a:pt x="8" y="2"/>
                  </a:cubicBezTo>
                  <a:cubicBezTo>
                    <a:pt x="8" y="3"/>
                    <a:pt x="7" y="4"/>
                    <a:pt x="7" y="4"/>
                  </a:cubicBezTo>
                  <a:cubicBezTo>
                    <a:pt x="6" y="4"/>
                    <a:pt x="6" y="4"/>
                    <a:pt x="6" y="4"/>
                  </a:cubicBezTo>
                  <a:close/>
                </a:path>
              </a:pathLst>
            </a:custGeom>
            <a:solidFill>
              <a:srgbClr val="C05C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" name="任意多边形 31"/>
            <p:cNvSpPr/>
            <p:nvPr/>
          </p:nvSpPr>
          <p:spPr bwMode="auto">
            <a:xfrm>
              <a:off x="5960687" y="2584453"/>
              <a:ext cx="133760" cy="34218"/>
            </a:xfrm>
            <a:custGeom>
              <a:avLst/>
              <a:gdLst>
                <a:gd name="T0" fmla="*/ 1 w 12"/>
                <a:gd name="T1" fmla="*/ 3 h 3"/>
                <a:gd name="T2" fmla="*/ 0 w 12"/>
                <a:gd name="T3" fmla="*/ 2 h 3"/>
                <a:gd name="T4" fmla="*/ 1 w 12"/>
                <a:gd name="T5" fmla="*/ 1 h 3"/>
                <a:gd name="T6" fmla="*/ 11 w 12"/>
                <a:gd name="T7" fmla="*/ 0 h 3"/>
                <a:gd name="T8" fmla="*/ 12 w 12"/>
                <a:gd name="T9" fmla="*/ 1 h 3"/>
                <a:gd name="T10" fmla="*/ 11 w 12"/>
                <a:gd name="T11" fmla="*/ 2 h 3"/>
                <a:gd name="T12" fmla="*/ 1 w 12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">
                  <a:moveTo>
                    <a:pt x="1" y="3"/>
                  </a:move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0"/>
                    <a:pt x="12" y="0"/>
                    <a:pt x="12" y="1"/>
                  </a:cubicBezTo>
                  <a:cubicBezTo>
                    <a:pt x="12" y="1"/>
                    <a:pt x="12" y="2"/>
                    <a:pt x="11" y="2"/>
                  </a:cubicBezTo>
                  <a:cubicBezTo>
                    <a:pt x="1" y="3"/>
                    <a:pt x="1" y="3"/>
                    <a:pt x="1" y="3"/>
                  </a:cubicBezTo>
                  <a:close/>
                </a:path>
              </a:pathLst>
            </a:custGeom>
            <a:solidFill>
              <a:srgbClr val="FFFC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" name="任意多边形 32"/>
            <p:cNvSpPr/>
            <p:nvPr/>
          </p:nvSpPr>
          <p:spPr bwMode="auto">
            <a:xfrm>
              <a:off x="5690057" y="1259307"/>
              <a:ext cx="158645" cy="410609"/>
            </a:xfrm>
            <a:custGeom>
              <a:avLst/>
              <a:gdLst>
                <a:gd name="T0" fmla="*/ 13 w 14"/>
                <a:gd name="T1" fmla="*/ 36 h 36"/>
                <a:gd name="T2" fmla="*/ 12 w 14"/>
                <a:gd name="T3" fmla="*/ 36 h 36"/>
                <a:gd name="T4" fmla="*/ 2 w 14"/>
                <a:gd name="T5" fmla="*/ 24 h 36"/>
                <a:gd name="T6" fmla="*/ 10 w 14"/>
                <a:gd name="T7" fmla="*/ 1 h 36"/>
                <a:gd name="T8" fmla="*/ 13 w 14"/>
                <a:gd name="T9" fmla="*/ 1 h 36"/>
                <a:gd name="T10" fmla="*/ 13 w 14"/>
                <a:gd name="T11" fmla="*/ 3 h 36"/>
                <a:gd name="T12" fmla="*/ 5 w 14"/>
                <a:gd name="T13" fmla="*/ 23 h 36"/>
                <a:gd name="T14" fmla="*/ 13 w 14"/>
                <a:gd name="T15" fmla="*/ 33 h 36"/>
                <a:gd name="T16" fmla="*/ 14 w 14"/>
                <a:gd name="T17" fmla="*/ 35 h 36"/>
                <a:gd name="T18" fmla="*/ 13 w 14"/>
                <a:gd name="T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36">
                  <a:moveTo>
                    <a:pt x="13" y="36"/>
                  </a:moveTo>
                  <a:cubicBezTo>
                    <a:pt x="12" y="36"/>
                    <a:pt x="12" y="36"/>
                    <a:pt x="12" y="36"/>
                  </a:cubicBezTo>
                  <a:cubicBezTo>
                    <a:pt x="7" y="33"/>
                    <a:pt x="3" y="29"/>
                    <a:pt x="2" y="24"/>
                  </a:cubicBezTo>
                  <a:cubicBezTo>
                    <a:pt x="0" y="13"/>
                    <a:pt x="10" y="1"/>
                    <a:pt x="10" y="1"/>
                  </a:cubicBezTo>
                  <a:cubicBezTo>
                    <a:pt x="11" y="0"/>
                    <a:pt x="12" y="0"/>
                    <a:pt x="13" y="1"/>
                  </a:cubicBezTo>
                  <a:cubicBezTo>
                    <a:pt x="13" y="1"/>
                    <a:pt x="13" y="2"/>
                    <a:pt x="13" y="3"/>
                  </a:cubicBezTo>
                  <a:cubicBezTo>
                    <a:pt x="13" y="3"/>
                    <a:pt x="3" y="14"/>
                    <a:pt x="5" y="23"/>
                  </a:cubicBezTo>
                  <a:cubicBezTo>
                    <a:pt x="6" y="27"/>
                    <a:pt x="9" y="31"/>
                    <a:pt x="13" y="33"/>
                  </a:cubicBezTo>
                  <a:cubicBezTo>
                    <a:pt x="14" y="33"/>
                    <a:pt x="14" y="34"/>
                    <a:pt x="14" y="35"/>
                  </a:cubicBezTo>
                  <a:cubicBezTo>
                    <a:pt x="14" y="36"/>
                    <a:pt x="13" y="36"/>
                    <a:pt x="13" y="36"/>
                  </a:cubicBezTo>
                  <a:close/>
                </a:path>
              </a:pathLst>
            </a:custGeom>
            <a:solidFill>
              <a:srgbClr val="3E2D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" name="任意多边形 33"/>
            <p:cNvSpPr/>
            <p:nvPr/>
          </p:nvSpPr>
          <p:spPr bwMode="auto">
            <a:xfrm>
              <a:off x="6063338" y="1305966"/>
              <a:ext cx="167976" cy="395056"/>
            </a:xfrm>
            <a:custGeom>
              <a:avLst/>
              <a:gdLst>
                <a:gd name="T0" fmla="*/ 1 w 15"/>
                <a:gd name="T1" fmla="*/ 35 h 35"/>
                <a:gd name="T2" fmla="*/ 0 w 15"/>
                <a:gd name="T3" fmla="*/ 35 h 35"/>
                <a:gd name="T4" fmla="*/ 0 w 15"/>
                <a:gd name="T5" fmla="*/ 33 h 35"/>
                <a:gd name="T6" fmla="*/ 11 w 15"/>
                <a:gd name="T7" fmla="*/ 14 h 35"/>
                <a:gd name="T8" fmla="*/ 5 w 15"/>
                <a:gd name="T9" fmla="*/ 3 h 35"/>
                <a:gd name="T10" fmla="*/ 4 w 15"/>
                <a:gd name="T11" fmla="*/ 1 h 35"/>
                <a:gd name="T12" fmla="*/ 7 w 15"/>
                <a:gd name="T13" fmla="*/ 0 h 35"/>
                <a:gd name="T14" fmla="*/ 14 w 15"/>
                <a:gd name="T15" fmla="*/ 14 h 35"/>
                <a:gd name="T16" fmla="*/ 2 w 15"/>
                <a:gd name="T17" fmla="*/ 35 h 35"/>
                <a:gd name="T18" fmla="*/ 1 w 15"/>
                <a:gd name="T1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35">
                  <a:moveTo>
                    <a:pt x="1" y="35"/>
                  </a:moveTo>
                  <a:cubicBezTo>
                    <a:pt x="1" y="35"/>
                    <a:pt x="1" y="35"/>
                    <a:pt x="0" y="35"/>
                  </a:cubicBezTo>
                  <a:cubicBezTo>
                    <a:pt x="0" y="34"/>
                    <a:pt x="0" y="33"/>
                    <a:pt x="0" y="33"/>
                  </a:cubicBezTo>
                  <a:cubicBezTo>
                    <a:pt x="1" y="33"/>
                    <a:pt x="12" y="23"/>
                    <a:pt x="11" y="14"/>
                  </a:cubicBezTo>
                  <a:cubicBezTo>
                    <a:pt x="11" y="9"/>
                    <a:pt x="9" y="6"/>
                    <a:pt x="5" y="3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12" y="4"/>
                    <a:pt x="14" y="8"/>
                    <a:pt x="14" y="14"/>
                  </a:cubicBezTo>
                  <a:cubicBezTo>
                    <a:pt x="15" y="25"/>
                    <a:pt x="3" y="35"/>
                    <a:pt x="2" y="35"/>
                  </a:cubicBezTo>
                  <a:lnTo>
                    <a:pt x="1" y="35"/>
                  </a:lnTo>
                  <a:close/>
                </a:path>
              </a:pathLst>
            </a:custGeom>
            <a:solidFill>
              <a:srgbClr val="3E2D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2" name="任意多边形 34"/>
            <p:cNvSpPr/>
            <p:nvPr/>
          </p:nvSpPr>
          <p:spPr bwMode="auto">
            <a:xfrm>
              <a:off x="6613928" y="2111631"/>
              <a:ext cx="236411" cy="1029633"/>
            </a:xfrm>
            <a:custGeom>
              <a:avLst/>
              <a:gdLst>
                <a:gd name="T0" fmla="*/ 6 w 21"/>
                <a:gd name="T1" fmla="*/ 91 h 91"/>
                <a:gd name="T2" fmla="*/ 5 w 21"/>
                <a:gd name="T3" fmla="*/ 90 h 91"/>
                <a:gd name="T4" fmla="*/ 5 w 21"/>
                <a:gd name="T5" fmla="*/ 88 h 91"/>
                <a:gd name="T6" fmla="*/ 15 w 21"/>
                <a:gd name="T7" fmla="*/ 62 h 91"/>
                <a:gd name="T8" fmla="*/ 9 w 21"/>
                <a:gd name="T9" fmla="*/ 41 h 91"/>
                <a:gd name="T10" fmla="*/ 0 w 21"/>
                <a:gd name="T11" fmla="*/ 1 h 91"/>
                <a:gd name="T12" fmla="*/ 2 w 21"/>
                <a:gd name="T13" fmla="*/ 0 h 91"/>
                <a:gd name="T14" fmla="*/ 2 w 21"/>
                <a:gd name="T15" fmla="*/ 0 h 91"/>
                <a:gd name="T16" fmla="*/ 3 w 21"/>
                <a:gd name="T17" fmla="*/ 1 h 91"/>
                <a:gd name="T18" fmla="*/ 12 w 21"/>
                <a:gd name="T19" fmla="*/ 40 h 91"/>
                <a:gd name="T20" fmla="*/ 18 w 21"/>
                <a:gd name="T21" fmla="*/ 61 h 91"/>
                <a:gd name="T22" fmla="*/ 7 w 21"/>
                <a:gd name="T23" fmla="*/ 91 h 91"/>
                <a:gd name="T24" fmla="*/ 6 w 21"/>
                <a:gd name="T25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91">
                  <a:moveTo>
                    <a:pt x="6" y="91"/>
                  </a:moveTo>
                  <a:cubicBezTo>
                    <a:pt x="6" y="91"/>
                    <a:pt x="5" y="91"/>
                    <a:pt x="5" y="90"/>
                  </a:cubicBezTo>
                  <a:cubicBezTo>
                    <a:pt x="4" y="90"/>
                    <a:pt x="5" y="89"/>
                    <a:pt x="5" y="88"/>
                  </a:cubicBezTo>
                  <a:cubicBezTo>
                    <a:pt x="6" y="88"/>
                    <a:pt x="18" y="78"/>
                    <a:pt x="15" y="62"/>
                  </a:cubicBezTo>
                  <a:cubicBezTo>
                    <a:pt x="13" y="55"/>
                    <a:pt x="11" y="48"/>
                    <a:pt x="9" y="41"/>
                  </a:cubicBezTo>
                  <a:cubicBezTo>
                    <a:pt x="5" y="28"/>
                    <a:pt x="0" y="14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3" y="14"/>
                    <a:pt x="8" y="27"/>
                    <a:pt x="12" y="40"/>
                  </a:cubicBezTo>
                  <a:cubicBezTo>
                    <a:pt x="14" y="47"/>
                    <a:pt x="16" y="55"/>
                    <a:pt x="18" y="61"/>
                  </a:cubicBezTo>
                  <a:cubicBezTo>
                    <a:pt x="21" y="79"/>
                    <a:pt x="8" y="90"/>
                    <a:pt x="7" y="91"/>
                  </a:cubicBezTo>
                  <a:lnTo>
                    <a:pt x="6" y="91"/>
                  </a:lnTo>
                  <a:close/>
                </a:path>
              </a:pathLst>
            </a:custGeom>
            <a:solidFill>
              <a:srgbClr val="3E2D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3" name="任意多边形 35"/>
            <p:cNvSpPr/>
            <p:nvPr/>
          </p:nvSpPr>
          <p:spPr bwMode="auto">
            <a:xfrm>
              <a:off x="6197098" y="1645030"/>
              <a:ext cx="584806" cy="715455"/>
            </a:xfrm>
            <a:custGeom>
              <a:avLst/>
              <a:gdLst>
                <a:gd name="T0" fmla="*/ 48 w 52"/>
                <a:gd name="T1" fmla="*/ 63 h 63"/>
                <a:gd name="T2" fmla="*/ 48 w 52"/>
                <a:gd name="T3" fmla="*/ 63 h 63"/>
                <a:gd name="T4" fmla="*/ 47 w 52"/>
                <a:gd name="T5" fmla="*/ 62 h 63"/>
                <a:gd name="T6" fmla="*/ 37 w 52"/>
                <a:gd name="T7" fmla="*/ 22 h 63"/>
                <a:gd name="T8" fmla="*/ 2 w 52"/>
                <a:gd name="T9" fmla="*/ 3 h 63"/>
                <a:gd name="T10" fmla="*/ 0 w 52"/>
                <a:gd name="T11" fmla="*/ 2 h 63"/>
                <a:gd name="T12" fmla="*/ 2 w 52"/>
                <a:gd name="T13" fmla="*/ 0 h 63"/>
                <a:gd name="T14" fmla="*/ 40 w 52"/>
                <a:gd name="T15" fmla="*/ 20 h 63"/>
                <a:gd name="T16" fmla="*/ 50 w 52"/>
                <a:gd name="T17" fmla="*/ 62 h 63"/>
                <a:gd name="T18" fmla="*/ 48 w 52"/>
                <a:gd name="T1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63">
                  <a:moveTo>
                    <a:pt x="48" y="63"/>
                  </a:moveTo>
                  <a:cubicBezTo>
                    <a:pt x="48" y="63"/>
                    <a:pt x="48" y="63"/>
                    <a:pt x="48" y="63"/>
                  </a:cubicBezTo>
                  <a:cubicBezTo>
                    <a:pt x="47" y="63"/>
                    <a:pt x="47" y="63"/>
                    <a:pt x="47" y="62"/>
                  </a:cubicBezTo>
                  <a:cubicBezTo>
                    <a:pt x="49" y="45"/>
                    <a:pt x="46" y="32"/>
                    <a:pt x="37" y="22"/>
                  </a:cubicBezTo>
                  <a:cubicBezTo>
                    <a:pt x="24" y="5"/>
                    <a:pt x="2" y="3"/>
                    <a:pt x="2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26" y="2"/>
                    <a:pt x="40" y="20"/>
                  </a:cubicBezTo>
                  <a:cubicBezTo>
                    <a:pt x="48" y="31"/>
                    <a:pt x="52" y="45"/>
                    <a:pt x="50" y="62"/>
                  </a:cubicBezTo>
                  <a:cubicBezTo>
                    <a:pt x="50" y="63"/>
                    <a:pt x="49" y="63"/>
                    <a:pt x="48" y="63"/>
                  </a:cubicBezTo>
                  <a:close/>
                </a:path>
              </a:pathLst>
            </a:custGeom>
            <a:solidFill>
              <a:srgbClr val="3E2D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4" name="任意多边形 36"/>
            <p:cNvSpPr/>
            <p:nvPr/>
          </p:nvSpPr>
          <p:spPr bwMode="auto">
            <a:xfrm>
              <a:off x="5973129" y="2970176"/>
              <a:ext cx="155534" cy="55992"/>
            </a:xfrm>
            <a:custGeom>
              <a:avLst/>
              <a:gdLst>
                <a:gd name="T0" fmla="*/ 7 w 14"/>
                <a:gd name="T1" fmla="*/ 5 h 5"/>
                <a:gd name="T2" fmla="*/ 2 w 14"/>
                <a:gd name="T3" fmla="*/ 5 h 5"/>
                <a:gd name="T4" fmla="*/ 1 w 14"/>
                <a:gd name="T5" fmla="*/ 3 h 5"/>
                <a:gd name="T6" fmla="*/ 3 w 14"/>
                <a:gd name="T7" fmla="*/ 1 h 5"/>
                <a:gd name="T8" fmla="*/ 11 w 14"/>
                <a:gd name="T9" fmla="*/ 1 h 5"/>
                <a:gd name="T10" fmla="*/ 13 w 14"/>
                <a:gd name="T11" fmla="*/ 2 h 5"/>
                <a:gd name="T12" fmla="*/ 12 w 14"/>
                <a:gd name="T13" fmla="*/ 4 h 5"/>
                <a:gd name="T14" fmla="*/ 7 w 14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5">
                  <a:moveTo>
                    <a:pt x="7" y="5"/>
                  </a:moveTo>
                  <a:cubicBezTo>
                    <a:pt x="6" y="5"/>
                    <a:pt x="4" y="5"/>
                    <a:pt x="2" y="5"/>
                  </a:cubicBezTo>
                  <a:cubicBezTo>
                    <a:pt x="1" y="5"/>
                    <a:pt x="0" y="4"/>
                    <a:pt x="1" y="3"/>
                  </a:cubicBezTo>
                  <a:cubicBezTo>
                    <a:pt x="1" y="1"/>
                    <a:pt x="2" y="1"/>
                    <a:pt x="3" y="1"/>
                  </a:cubicBezTo>
                  <a:cubicBezTo>
                    <a:pt x="6" y="1"/>
                    <a:pt x="10" y="1"/>
                    <a:pt x="11" y="1"/>
                  </a:cubicBezTo>
                  <a:cubicBezTo>
                    <a:pt x="12" y="0"/>
                    <a:pt x="13" y="1"/>
                    <a:pt x="13" y="2"/>
                  </a:cubicBezTo>
                  <a:cubicBezTo>
                    <a:pt x="14" y="3"/>
                    <a:pt x="13" y="4"/>
                    <a:pt x="12" y="4"/>
                  </a:cubicBezTo>
                  <a:cubicBezTo>
                    <a:pt x="11" y="5"/>
                    <a:pt x="9" y="5"/>
                    <a:pt x="7" y="5"/>
                  </a:cubicBezTo>
                  <a:close/>
                </a:path>
              </a:pathLst>
            </a:custGeom>
            <a:solidFill>
              <a:srgbClr val="C05C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5" name="任意多边形 37"/>
            <p:cNvSpPr/>
            <p:nvPr/>
          </p:nvSpPr>
          <p:spPr bwMode="auto">
            <a:xfrm>
              <a:off x="5444315" y="2484912"/>
              <a:ext cx="121317" cy="223968"/>
            </a:xfrm>
            <a:custGeom>
              <a:avLst/>
              <a:gdLst>
                <a:gd name="T0" fmla="*/ 6 w 11"/>
                <a:gd name="T1" fmla="*/ 20 h 20"/>
                <a:gd name="T2" fmla="*/ 6 w 11"/>
                <a:gd name="T3" fmla="*/ 20 h 20"/>
                <a:gd name="T4" fmla="*/ 5 w 11"/>
                <a:gd name="T5" fmla="*/ 18 h 20"/>
                <a:gd name="T6" fmla="*/ 1 w 11"/>
                <a:gd name="T7" fmla="*/ 3 h 20"/>
                <a:gd name="T8" fmla="*/ 1 w 11"/>
                <a:gd name="T9" fmla="*/ 1 h 20"/>
                <a:gd name="T10" fmla="*/ 3 w 11"/>
                <a:gd name="T11" fmla="*/ 1 h 20"/>
                <a:gd name="T12" fmla="*/ 8 w 11"/>
                <a:gd name="T13" fmla="*/ 19 h 20"/>
                <a:gd name="T14" fmla="*/ 6 w 11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0">
                  <a:moveTo>
                    <a:pt x="6" y="20"/>
                  </a:move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4" y="19"/>
                    <a:pt x="5" y="18"/>
                  </a:cubicBezTo>
                  <a:cubicBezTo>
                    <a:pt x="7" y="9"/>
                    <a:pt x="1" y="3"/>
                    <a:pt x="1" y="3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1" y="0"/>
                    <a:pt x="2" y="0"/>
                    <a:pt x="3" y="1"/>
                  </a:cubicBezTo>
                  <a:cubicBezTo>
                    <a:pt x="3" y="1"/>
                    <a:pt x="11" y="8"/>
                    <a:pt x="8" y="19"/>
                  </a:cubicBezTo>
                  <a:cubicBezTo>
                    <a:pt x="7" y="20"/>
                    <a:pt x="7" y="20"/>
                    <a:pt x="6" y="20"/>
                  </a:cubicBezTo>
                  <a:close/>
                </a:path>
              </a:pathLst>
            </a:custGeom>
            <a:solidFill>
              <a:srgbClr val="C05C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6" name="任意多边形 38"/>
            <p:cNvSpPr/>
            <p:nvPr/>
          </p:nvSpPr>
          <p:spPr bwMode="auto">
            <a:xfrm>
              <a:off x="6489501" y="2540904"/>
              <a:ext cx="111984" cy="214637"/>
            </a:xfrm>
            <a:custGeom>
              <a:avLst/>
              <a:gdLst>
                <a:gd name="T0" fmla="*/ 2 w 10"/>
                <a:gd name="T1" fmla="*/ 19 h 19"/>
                <a:gd name="T2" fmla="*/ 2 w 10"/>
                <a:gd name="T3" fmla="*/ 19 h 19"/>
                <a:gd name="T4" fmla="*/ 1 w 10"/>
                <a:gd name="T5" fmla="*/ 18 h 19"/>
                <a:gd name="T6" fmla="*/ 7 w 10"/>
                <a:gd name="T7" fmla="*/ 0 h 19"/>
                <a:gd name="T8" fmla="*/ 9 w 10"/>
                <a:gd name="T9" fmla="*/ 0 h 19"/>
                <a:gd name="T10" fmla="*/ 10 w 10"/>
                <a:gd name="T11" fmla="*/ 2 h 19"/>
                <a:gd name="T12" fmla="*/ 4 w 10"/>
                <a:gd name="T13" fmla="*/ 18 h 19"/>
                <a:gd name="T14" fmla="*/ 2 w 10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9">
                  <a:moveTo>
                    <a:pt x="2" y="1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9"/>
                    <a:pt x="0" y="19"/>
                    <a:pt x="1" y="18"/>
                  </a:cubicBezTo>
                  <a:cubicBezTo>
                    <a:pt x="2" y="7"/>
                    <a:pt x="7" y="1"/>
                    <a:pt x="7" y="0"/>
                  </a:cubicBezTo>
                  <a:cubicBezTo>
                    <a:pt x="8" y="0"/>
                    <a:pt x="9" y="0"/>
                    <a:pt x="9" y="0"/>
                  </a:cubicBezTo>
                  <a:cubicBezTo>
                    <a:pt x="10" y="1"/>
                    <a:pt x="10" y="2"/>
                    <a:pt x="10" y="2"/>
                  </a:cubicBezTo>
                  <a:cubicBezTo>
                    <a:pt x="9" y="2"/>
                    <a:pt x="4" y="8"/>
                    <a:pt x="4" y="18"/>
                  </a:cubicBezTo>
                  <a:cubicBezTo>
                    <a:pt x="3" y="19"/>
                    <a:pt x="3" y="19"/>
                    <a:pt x="2" y="19"/>
                  </a:cubicBezTo>
                  <a:close/>
                </a:path>
              </a:pathLst>
            </a:custGeom>
            <a:solidFill>
              <a:srgbClr val="C05C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7" name="任意多边形 39"/>
            <p:cNvSpPr/>
            <p:nvPr/>
          </p:nvSpPr>
          <p:spPr bwMode="auto">
            <a:xfrm>
              <a:off x="5522081" y="2506685"/>
              <a:ext cx="1001636" cy="600361"/>
            </a:xfrm>
            <a:custGeom>
              <a:avLst/>
              <a:gdLst>
                <a:gd name="T0" fmla="*/ 5 w 89"/>
                <a:gd name="T1" fmla="*/ 8 h 53"/>
                <a:gd name="T2" fmla="*/ 19 w 89"/>
                <a:gd name="T3" fmla="*/ 21 h 53"/>
                <a:gd name="T4" fmla="*/ 17 w 89"/>
                <a:gd name="T5" fmla="*/ 44 h 53"/>
                <a:gd name="T6" fmla="*/ 2 w 89"/>
                <a:gd name="T7" fmla="*/ 23 h 53"/>
                <a:gd name="T8" fmla="*/ 1 w 89"/>
                <a:gd name="T9" fmla="*/ 25 h 53"/>
                <a:gd name="T10" fmla="*/ 18 w 89"/>
                <a:gd name="T11" fmla="*/ 48 h 53"/>
                <a:gd name="T12" fmla="*/ 72 w 89"/>
                <a:gd name="T13" fmla="*/ 48 h 53"/>
                <a:gd name="T14" fmla="*/ 87 w 89"/>
                <a:gd name="T15" fmla="*/ 26 h 53"/>
                <a:gd name="T16" fmla="*/ 84 w 89"/>
                <a:gd name="T17" fmla="*/ 25 h 53"/>
                <a:gd name="T18" fmla="*/ 72 w 89"/>
                <a:gd name="T19" fmla="*/ 45 h 53"/>
                <a:gd name="T20" fmla="*/ 72 w 89"/>
                <a:gd name="T21" fmla="*/ 20 h 53"/>
                <a:gd name="T22" fmla="*/ 88 w 89"/>
                <a:gd name="T23" fmla="*/ 2 h 53"/>
                <a:gd name="T24" fmla="*/ 89 w 89"/>
                <a:gd name="T25" fmla="*/ 0 h 53"/>
                <a:gd name="T26" fmla="*/ 87 w 89"/>
                <a:gd name="T27" fmla="*/ 0 h 53"/>
                <a:gd name="T28" fmla="*/ 67 w 89"/>
                <a:gd name="T29" fmla="*/ 16 h 53"/>
                <a:gd name="T30" fmla="*/ 20 w 89"/>
                <a:gd name="T31" fmla="*/ 18 h 53"/>
                <a:gd name="T32" fmla="*/ 4 w 89"/>
                <a:gd name="T33" fmla="*/ 4 h 53"/>
                <a:gd name="T34" fmla="*/ 5 w 89"/>
                <a:gd name="T35" fmla="*/ 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9" h="53">
                  <a:moveTo>
                    <a:pt x="5" y="8"/>
                  </a:moveTo>
                  <a:cubicBezTo>
                    <a:pt x="5" y="8"/>
                    <a:pt x="18" y="19"/>
                    <a:pt x="19" y="21"/>
                  </a:cubicBezTo>
                  <a:cubicBezTo>
                    <a:pt x="20" y="23"/>
                    <a:pt x="19" y="44"/>
                    <a:pt x="17" y="44"/>
                  </a:cubicBezTo>
                  <a:cubicBezTo>
                    <a:pt x="15" y="43"/>
                    <a:pt x="3" y="23"/>
                    <a:pt x="2" y="23"/>
                  </a:cubicBezTo>
                  <a:cubicBezTo>
                    <a:pt x="0" y="23"/>
                    <a:pt x="1" y="25"/>
                    <a:pt x="1" y="25"/>
                  </a:cubicBezTo>
                  <a:cubicBezTo>
                    <a:pt x="1" y="25"/>
                    <a:pt x="11" y="43"/>
                    <a:pt x="18" y="48"/>
                  </a:cubicBezTo>
                  <a:cubicBezTo>
                    <a:pt x="24" y="53"/>
                    <a:pt x="64" y="53"/>
                    <a:pt x="72" y="48"/>
                  </a:cubicBezTo>
                  <a:cubicBezTo>
                    <a:pt x="80" y="44"/>
                    <a:pt x="87" y="27"/>
                    <a:pt x="87" y="26"/>
                  </a:cubicBezTo>
                  <a:cubicBezTo>
                    <a:pt x="86" y="26"/>
                    <a:pt x="85" y="25"/>
                    <a:pt x="84" y="25"/>
                  </a:cubicBezTo>
                  <a:cubicBezTo>
                    <a:pt x="84" y="26"/>
                    <a:pt x="73" y="45"/>
                    <a:pt x="72" y="45"/>
                  </a:cubicBezTo>
                  <a:cubicBezTo>
                    <a:pt x="70" y="44"/>
                    <a:pt x="72" y="22"/>
                    <a:pt x="72" y="20"/>
                  </a:cubicBezTo>
                  <a:cubicBezTo>
                    <a:pt x="71" y="18"/>
                    <a:pt x="88" y="2"/>
                    <a:pt x="88" y="2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71" y="16"/>
                    <a:pt x="67" y="16"/>
                  </a:cubicBezTo>
                  <a:cubicBezTo>
                    <a:pt x="63" y="16"/>
                    <a:pt x="22" y="19"/>
                    <a:pt x="20" y="18"/>
                  </a:cubicBezTo>
                  <a:cubicBezTo>
                    <a:pt x="18" y="17"/>
                    <a:pt x="5" y="3"/>
                    <a:pt x="4" y="4"/>
                  </a:cubicBezTo>
                  <a:cubicBezTo>
                    <a:pt x="2" y="4"/>
                    <a:pt x="4" y="7"/>
                    <a:pt x="5" y="8"/>
                  </a:cubicBezTo>
                  <a:close/>
                </a:path>
              </a:pathLst>
            </a:custGeom>
            <a:solidFill>
              <a:srgbClr val="FFFC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8" name="任意多边形 40"/>
            <p:cNvSpPr/>
            <p:nvPr/>
          </p:nvSpPr>
          <p:spPr bwMode="auto">
            <a:xfrm>
              <a:off x="5298113" y="3309239"/>
              <a:ext cx="1483792" cy="668795"/>
            </a:xfrm>
            <a:custGeom>
              <a:avLst/>
              <a:gdLst>
                <a:gd name="T0" fmla="*/ 21 w 132"/>
                <a:gd name="T1" fmla="*/ 18 h 59"/>
                <a:gd name="T2" fmla="*/ 81 w 132"/>
                <a:gd name="T3" fmla="*/ 48 h 59"/>
                <a:gd name="T4" fmla="*/ 119 w 132"/>
                <a:gd name="T5" fmla="*/ 4 h 59"/>
                <a:gd name="T6" fmla="*/ 21 w 132"/>
                <a:gd name="T7" fmla="*/ 18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2" h="59">
                  <a:moveTo>
                    <a:pt x="21" y="18"/>
                  </a:moveTo>
                  <a:cubicBezTo>
                    <a:pt x="21" y="18"/>
                    <a:pt x="55" y="59"/>
                    <a:pt x="81" y="48"/>
                  </a:cubicBezTo>
                  <a:cubicBezTo>
                    <a:pt x="107" y="37"/>
                    <a:pt x="132" y="8"/>
                    <a:pt x="119" y="4"/>
                  </a:cubicBezTo>
                  <a:cubicBezTo>
                    <a:pt x="105" y="0"/>
                    <a:pt x="0" y="2"/>
                    <a:pt x="21" y="18"/>
                  </a:cubicBezTo>
                  <a:close/>
                </a:path>
              </a:pathLst>
            </a:custGeom>
            <a:solidFill>
              <a:srgbClr val="DF9F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9" name="任意多边形 41"/>
            <p:cNvSpPr/>
            <p:nvPr/>
          </p:nvSpPr>
          <p:spPr bwMode="auto">
            <a:xfrm>
              <a:off x="6567267" y="2789757"/>
              <a:ext cx="799444" cy="1007858"/>
            </a:xfrm>
            <a:custGeom>
              <a:avLst/>
              <a:gdLst>
                <a:gd name="T0" fmla="*/ 57 w 71"/>
                <a:gd name="T1" fmla="*/ 40 h 89"/>
                <a:gd name="T2" fmla="*/ 51 w 71"/>
                <a:gd name="T3" fmla="*/ 2 h 89"/>
                <a:gd name="T4" fmla="*/ 41 w 71"/>
                <a:gd name="T5" fmla="*/ 27 h 89"/>
                <a:gd name="T6" fmla="*/ 4 w 71"/>
                <a:gd name="T7" fmla="*/ 52 h 89"/>
                <a:gd name="T8" fmla="*/ 23 w 71"/>
                <a:gd name="T9" fmla="*/ 88 h 89"/>
                <a:gd name="T10" fmla="*/ 66 w 71"/>
                <a:gd name="T11" fmla="*/ 77 h 89"/>
                <a:gd name="T12" fmla="*/ 57 w 71"/>
                <a:gd name="T13" fmla="*/ 4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89">
                  <a:moveTo>
                    <a:pt x="57" y="40"/>
                  </a:moveTo>
                  <a:cubicBezTo>
                    <a:pt x="57" y="40"/>
                    <a:pt x="53" y="4"/>
                    <a:pt x="51" y="2"/>
                  </a:cubicBezTo>
                  <a:cubicBezTo>
                    <a:pt x="49" y="0"/>
                    <a:pt x="38" y="17"/>
                    <a:pt x="41" y="27"/>
                  </a:cubicBezTo>
                  <a:cubicBezTo>
                    <a:pt x="44" y="37"/>
                    <a:pt x="0" y="38"/>
                    <a:pt x="4" y="52"/>
                  </a:cubicBezTo>
                  <a:cubicBezTo>
                    <a:pt x="7" y="67"/>
                    <a:pt x="5" y="87"/>
                    <a:pt x="23" y="88"/>
                  </a:cubicBezTo>
                  <a:cubicBezTo>
                    <a:pt x="41" y="89"/>
                    <a:pt x="62" y="84"/>
                    <a:pt x="66" y="77"/>
                  </a:cubicBezTo>
                  <a:cubicBezTo>
                    <a:pt x="71" y="70"/>
                    <a:pt x="57" y="40"/>
                    <a:pt x="57" y="40"/>
                  </a:cubicBezTo>
                  <a:close/>
                </a:path>
              </a:pathLst>
            </a:custGeom>
            <a:solidFill>
              <a:srgbClr val="DF9F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0" name="任意多边形 42"/>
            <p:cNvSpPr/>
            <p:nvPr/>
          </p:nvSpPr>
          <p:spPr bwMode="auto">
            <a:xfrm>
              <a:off x="7096081" y="3231473"/>
              <a:ext cx="911428" cy="2015716"/>
            </a:xfrm>
            <a:custGeom>
              <a:avLst/>
              <a:gdLst>
                <a:gd name="T0" fmla="*/ 34 w 81"/>
                <a:gd name="T1" fmla="*/ 33 h 178"/>
                <a:gd name="T2" fmla="*/ 72 w 81"/>
                <a:gd name="T3" fmla="*/ 132 h 178"/>
                <a:gd name="T4" fmla="*/ 9 w 81"/>
                <a:gd name="T5" fmla="*/ 173 h 178"/>
                <a:gd name="T6" fmla="*/ 34 w 81"/>
                <a:gd name="T7" fmla="*/ 33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1" h="178">
                  <a:moveTo>
                    <a:pt x="34" y="33"/>
                  </a:moveTo>
                  <a:cubicBezTo>
                    <a:pt x="34" y="33"/>
                    <a:pt x="81" y="93"/>
                    <a:pt x="72" y="132"/>
                  </a:cubicBezTo>
                  <a:cubicBezTo>
                    <a:pt x="63" y="171"/>
                    <a:pt x="18" y="178"/>
                    <a:pt x="9" y="173"/>
                  </a:cubicBezTo>
                  <a:cubicBezTo>
                    <a:pt x="0" y="167"/>
                    <a:pt x="3" y="0"/>
                    <a:pt x="34" y="33"/>
                  </a:cubicBezTo>
                  <a:close/>
                </a:path>
              </a:pathLst>
            </a:custGeom>
            <a:solidFill>
              <a:srgbClr val="E6B5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1" name="任意多边形 43"/>
            <p:cNvSpPr/>
            <p:nvPr/>
          </p:nvSpPr>
          <p:spPr bwMode="auto">
            <a:xfrm>
              <a:off x="4184492" y="3175481"/>
              <a:ext cx="1122954" cy="2308119"/>
            </a:xfrm>
            <a:custGeom>
              <a:avLst/>
              <a:gdLst>
                <a:gd name="T0" fmla="*/ 61 w 100"/>
                <a:gd name="T1" fmla="*/ 31 h 204"/>
                <a:gd name="T2" fmla="*/ 4 w 100"/>
                <a:gd name="T3" fmla="*/ 156 h 204"/>
                <a:gd name="T4" fmla="*/ 91 w 100"/>
                <a:gd name="T5" fmla="*/ 193 h 204"/>
                <a:gd name="T6" fmla="*/ 61 w 100"/>
                <a:gd name="T7" fmla="*/ 31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" h="204">
                  <a:moveTo>
                    <a:pt x="61" y="31"/>
                  </a:moveTo>
                  <a:cubicBezTo>
                    <a:pt x="61" y="31"/>
                    <a:pt x="0" y="97"/>
                    <a:pt x="4" y="156"/>
                  </a:cubicBezTo>
                  <a:cubicBezTo>
                    <a:pt x="7" y="204"/>
                    <a:pt x="82" y="197"/>
                    <a:pt x="91" y="193"/>
                  </a:cubicBezTo>
                  <a:cubicBezTo>
                    <a:pt x="100" y="188"/>
                    <a:pt x="92" y="0"/>
                    <a:pt x="61" y="31"/>
                  </a:cubicBezTo>
                  <a:close/>
                </a:path>
              </a:pathLst>
            </a:custGeom>
            <a:solidFill>
              <a:srgbClr val="E6B5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2" name="任意多边形 44"/>
            <p:cNvSpPr/>
            <p:nvPr/>
          </p:nvSpPr>
          <p:spPr bwMode="auto">
            <a:xfrm>
              <a:off x="6884555" y="3278132"/>
              <a:ext cx="1057629" cy="1947281"/>
            </a:xfrm>
            <a:custGeom>
              <a:avLst/>
              <a:gdLst>
                <a:gd name="T0" fmla="*/ 33 w 94"/>
                <a:gd name="T1" fmla="*/ 6 h 172"/>
                <a:gd name="T2" fmla="*/ 77 w 94"/>
                <a:gd name="T3" fmla="*/ 148 h 172"/>
                <a:gd name="T4" fmla="*/ 18 w 94"/>
                <a:gd name="T5" fmla="*/ 154 h 172"/>
                <a:gd name="T6" fmla="*/ 11 w 94"/>
                <a:gd name="T7" fmla="*/ 44 h 172"/>
                <a:gd name="T8" fmla="*/ 33 w 94"/>
                <a:gd name="T9" fmla="*/ 6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172">
                  <a:moveTo>
                    <a:pt x="33" y="6"/>
                  </a:moveTo>
                  <a:cubicBezTo>
                    <a:pt x="33" y="6"/>
                    <a:pt x="94" y="128"/>
                    <a:pt x="77" y="148"/>
                  </a:cubicBezTo>
                  <a:cubicBezTo>
                    <a:pt x="60" y="169"/>
                    <a:pt x="30" y="172"/>
                    <a:pt x="18" y="154"/>
                  </a:cubicBezTo>
                  <a:cubicBezTo>
                    <a:pt x="11" y="144"/>
                    <a:pt x="21" y="55"/>
                    <a:pt x="11" y="44"/>
                  </a:cubicBezTo>
                  <a:cubicBezTo>
                    <a:pt x="0" y="33"/>
                    <a:pt x="29" y="0"/>
                    <a:pt x="33" y="6"/>
                  </a:cubicBezTo>
                  <a:close/>
                </a:path>
              </a:pathLst>
            </a:custGeom>
            <a:solidFill>
              <a:srgbClr val="DF9F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53" name="任意多边形 45"/>
            <p:cNvSpPr/>
            <p:nvPr/>
          </p:nvSpPr>
          <p:spPr bwMode="auto">
            <a:xfrm>
              <a:off x="4374244" y="4522401"/>
              <a:ext cx="2429436" cy="1098068"/>
            </a:xfrm>
            <a:custGeom>
              <a:avLst/>
              <a:gdLst>
                <a:gd name="T0" fmla="*/ 161 w 216"/>
                <a:gd name="T1" fmla="*/ 21 h 97"/>
                <a:gd name="T2" fmla="*/ 210 w 216"/>
                <a:gd name="T3" fmla="*/ 51 h 97"/>
                <a:gd name="T4" fmla="*/ 186 w 216"/>
                <a:gd name="T5" fmla="*/ 45 h 97"/>
                <a:gd name="T6" fmla="*/ 201 w 216"/>
                <a:gd name="T7" fmla="*/ 63 h 97"/>
                <a:gd name="T8" fmla="*/ 178 w 216"/>
                <a:gd name="T9" fmla="*/ 52 h 97"/>
                <a:gd name="T10" fmla="*/ 193 w 216"/>
                <a:gd name="T11" fmla="*/ 73 h 97"/>
                <a:gd name="T12" fmla="*/ 172 w 216"/>
                <a:gd name="T13" fmla="*/ 62 h 97"/>
                <a:gd name="T14" fmla="*/ 179 w 216"/>
                <a:gd name="T15" fmla="*/ 80 h 97"/>
                <a:gd name="T16" fmla="*/ 136 w 216"/>
                <a:gd name="T17" fmla="*/ 57 h 97"/>
                <a:gd name="T18" fmla="*/ 25 w 216"/>
                <a:gd name="T19" fmla="*/ 58 h 97"/>
                <a:gd name="T20" fmla="*/ 71 w 216"/>
                <a:gd name="T21" fmla="*/ 0 h 97"/>
                <a:gd name="T22" fmla="*/ 161 w 216"/>
                <a:gd name="T23" fmla="*/ 2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6" h="97">
                  <a:moveTo>
                    <a:pt x="161" y="21"/>
                  </a:moveTo>
                  <a:cubicBezTo>
                    <a:pt x="161" y="21"/>
                    <a:pt x="203" y="37"/>
                    <a:pt x="210" y="51"/>
                  </a:cubicBezTo>
                  <a:cubicBezTo>
                    <a:pt x="216" y="64"/>
                    <a:pt x="191" y="48"/>
                    <a:pt x="186" y="45"/>
                  </a:cubicBezTo>
                  <a:cubicBezTo>
                    <a:pt x="180" y="43"/>
                    <a:pt x="201" y="60"/>
                    <a:pt x="201" y="63"/>
                  </a:cubicBezTo>
                  <a:cubicBezTo>
                    <a:pt x="202" y="67"/>
                    <a:pt x="178" y="52"/>
                    <a:pt x="178" y="52"/>
                  </a:cubicBezTo>
                  <a:cubicBezTo>
                    <a:pt x="178" y="52"/>
                    <a:pt x="195" y="70"/>
                    <a:pt x="193" y="73"/>
                  </a:cubicBezTo>
                  <a:cubicBezTo>
                    <a:pt x="191" y="77"/>
                    <a:pt x="172" y="62"/>
                    <a:pt x="172" y="62"/>
                  </a:cubicBezTo>
                  <a:cubicBezTo>
                    <a:pt x="172" y="62"/>
                    <a:pt x="182" y="78"/>
                    <a:pt x="179" y="80"/>
                  </a:cubicBezTo>
                  <a:cubicBezTo>
                    <a:pt x="176" y="82"/>
                    <a:pt x="154" y="56"/>
                    <a:pt x="136" y="57"/>
                  </a:cubicBezTo>
                  <a:cubicBezTo>
                    <a:pt x="118" y="58"/>
                    <a:pt x="51" y="97"/>
                    <a:pt x="25" y="58"/>
                  </a:cubicBezTo>
                  <a:cubicBezTo>
                    <a:pt x="0" y="19"/>
                    <a:pt x="21" y="0"/>
                    <a:pt x="71" y="0"/>
                  </a:cubicBezTo>
                  <a:cubicBezTo>
                    <a:pt x="121" y="1"/>
                    <a:pt x="147" y="16"/>
                    <a:pt x="161" y="21"/>
                  </a:cubicBezTo>
                  <a:close/>
                </a:path>
              </a:pathLst>
            </a:custGeom>
            <a:solidFill>
              <a:srgbClr val="DF9F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lï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śľiḍé"/>
          <p:cNvSpPr>
            <a:spLocks noGrp="1"/>
          </p:cNvSpPr>
          <p:nvPr>
            <p:ph type="title"/>
          </p:nvPr>
        </p:nvSpPr>
        <p:spPr>
          <a:xfrm>
            <a:off x="3872419" y="609134"/>
            <a:ext cx="7613337" cy="895350"/>
          </a:xfrm>
        </p:spPr>
        <p:txBody>
          <a:bodyPr anchor="t">
            <a:noAutofit/>
          </a:bodyPr>
          <a:lstStyle/>
          <a:p>
            <a:r>
              <a:rPr lang="zh-CN" altLang="en-US" sz="4000" dirty="0"/>
              <a:t>疫情期间常见的心理问题</a:t>
            </a:r>
            <a:endParaRPr lang="zh-CN" altLang="en-US" sz="4000" dirty="0"/>
          </a:p>
        </p:txBody>
      </p:sp>
      <p:sp>
        <p:nvSpPr>
          <p:cNvPr id="7" name="íṡḻîḍê"/>
          <p:cNvSpPr txBox="1"/>
          <p:nvPr/>
        </p:nvSpPr>
        <p:spPr>
          <a:xfrm>
            <a:off x="1494497" y="181045"/>
            <a:ext cx="17423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0" dirty="0">
                <a:solidFill>
                  <a:schemeClr val="accent1">
                    <a:lumMod val="75000"/>
                    <a:lumOff val="25000"/>
                  </a:schemeClr>
                </a:solidFill>
                <a:latin typeface="Impact" panose="020B0806030902050204" pitchFamily="34" charset="0"/>
              </a:rPr>
              <a:t>/01</a:t>
            </a:r>
            <a:endParaRPr lang="zh-CN" altLang="en-US" sz="8000" dirty="0">
              <a:solidFill>
                <a:schemeClr val="accent1">
                  <a:lumMod val="75000"/>
                  <a:lumOff val="2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4572000" y="1898262"/>
            <a:ext cx="6657278" cy="39693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4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一、焦虑、疑病：</a:t>
            </a:r>
            <a:r>
              <a:rPr lang="zh-CN" altLang="en-US" sz="20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由于</a:t>
            </a:r>
            <a:r>
              <a:rPr lang="zh-CN" altLang="en-US" sz="2000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无法辨识谁是新冠病毒携带者，难以保证自己和家人的健康，安全感下降，出现焦虑疑病</a:t>
            </a:r>
            <a:r>
              <a:rPr lang="zh-CN" altLang="en-US" sz="2000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心理，将身体的各种不舒服与新冠肺炎联系起来，怀疑自己生病，加重了紧张、恐慌的情绪。</a:t>
            </a:r>
            <a:endParaRPr lang="en-US" altLang="zh-CN" sz="2000" dirty="0">
              <a:solidFill>
                <a:schemeClr val="accent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endParaRPr lang="en-US" altLang="zh-CN" sz="2000" dirty="0">
              <a:solidFill>
                <a:schemeClr val="accent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4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二、愤怒情绪：</a:t>
            </a:r>
            <a:r>
              <a:rPr lang="zh-CN" altLang="en-US" sz="2000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由于疫情期间我们不能出门，打破了我们正常的生活规律，长期居家压抑情绪不能释放，就可能在某些情况下，突然爆发，宣泄情绪。</a:t>
            </a:r>
            <a:endParaRPr kumimoji="1" lang="zh-CN" altLang="en-US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lï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śľiḍé"/>
          <p:cNvSpPr>
            <a:spLocks noGrp="1"/>
          </p:cNvSpPr>
          <p:nvPr>
            <p:ph type="title"/>
          </p:nvPr>
        </p:nvSpPr>
        <p:spPr>
          <a:xfrm>
            <a:off x="3872419" y="609134"/>
            <a:ext cx="7613337" cy="895350"/>
          </a:xfrm>
        </p:spPr>
        <p:txBody>
          <a:bodyPr anchor="t">
            <a:noAutofit/>
          </a:bodyPr>
          <a:lstStyle/>
          <a:p>
            <a:r>
              <a:rPr lang="zh-CN" altLang="en-US" sz="4000" dirty="0"/>
              <a:t>疫情期间常见的心理问题</a:t>
            </a:r>
            <a:endParaRPr lang="zh-CN" altLang="en-US" sz="4000" dirty="0"/>
          </a:p>
        </p:txBody>
      </p:sp>
      <p:sp>
        <p:nvSpPr>
          <p:cNvPr id="7" name="íṡḻîḍê"/>
          <p:cNvSpPr txBox="1"/>
          <p:nvPr/>
        </p:nvSpPr>
        <p:spPr>
          <a:xfrm>
            <a:off x="1494497" y="181045"/>
            <a:ext cx="17423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0" dirty="0">
                <a:solidFill>
                  <a:schemeClr val="accent1">
                    <a:lumMod val="75000"/>
                    <a:lumOff val="25000"/>
                  </a:schemeClr>
                </a:solidFill>
                <a:latin typeface="Impact" panose="020B0806030902050204" pitchFamily="34" charset="0"/>
              </a:rPr>
              <a:t>/01</a:t>
            </a:r>
            <a:endParaRPr lang="zh-CN" altLang="en-US" sz="8000" dirty="0">
              <a:solidFill>
                <a:schemeClr val="accent1">
                  <a:lumMod val="75000"/>
                  <a:lumOff val="2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4572000" y="1898262"/>
            <a:ext cx="6657278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4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三、低落抑郁：</a:t>
            </a:r>
            <a:r>
              <a:rPr lang="zh-CN" altLang="en-US" sz="2000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在自我隔离、居家不出门的过程中，也有可能情绪低落，甚至悲伤、绝望，对一切都似乎失去了兴趣，难以感到愉悦。低落抑郁的情绪如果持续时间过长，可能导致生活规律的紊乱，长期低落的心情还可能造成机体免疫力的下降等。</a:t>
            </a:r>
            <a:endParaRPr lang="zh-CN" altLang="en-US" sz="2000" dirty="0">
              <a:solidFill>
                <a:schemeClr val="accent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4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四、盲目乐观：</a:t>
            </a:r>
            <a:r>
              <a:rPr lang="zh-CN" altLang="en-US" sz="2000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适度的乐观是必要的。但不切实际的乐观不仅会放松人们的警惕，而且会增加自己和别人感染的风险。</a:t>
            </a:r>
            <a:endParaRPr lang="zh-CN" altLang="en-US" sz="2000" dirty="0">
              <a:solidFill>
                <a:schemeClr val="accent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endParaRPr lang="zh-CN" altLang="en-US" sz="2400" b="1" dirty="0">
              <a:solidFill>
                <a:schemeClr val="accent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285750" indent="-285750">
              <a:buFont typeface="Wingdings" panose="05000000000000000000" pitchFamily="2" charset="2"/>
              <a:buChar char="u"/>
            </a:pPr>
            <a:endParaRPr kumimoji="1" lang="zh-CN" altLang="en-US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lï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śľiḍé"/>
          <p:cNvSpPr>
            <a:spLocks noGrp="1"/>
          </p:cNvSpPr>
          <p:nvPr>
            <p:ph type="title"/>
          </p:nvPr>
        </p:nvSpPr>
        <p:spPr>
          <a:xfrm>
            <a:off x="3850117" y="609134"/>
            <a:ext cx="7613337" cy="895350"/>
          </a:xfrm>
        </p:spPr>
        <p:txBody>
          <a:bodyPr anchor="t">
            <a:noAutofit/>
          </a:bodyPr>
          <a:lstStyle/>
          <a:p>
            <a:r>
              <a:rPr lang="zh-CN" altLang="en-US" sz="4000" dirty="0"/>
              <a:t>疫情期间如何进行自我调节？</a:t>
            </a:r>
            <a:endParaRPr lang="zh-CN" altLang="en-US" sz="4000" dirty="0"/>
          </a:p>
        </p:txBody>
      </p:sp>
      <p:sp>
        <p:nvSpPr>
          <p:cNvPr id="7" name="íṡḻîḍê"/>
          <p:cNvSpPr txBox="1"/>
          <p:nvPr/>
        </p:nvSpPr>
        <p:spPr>
          <a:xfrm>
            <a:off x="1494497" y="181045"/>
            <a:ext cx="17423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0" dirty="0">
                <a:solidFill>
                  <a:schemeClr val="accent1">
                    <a:lumMod val="75000"/>
                    <a:lumOff val="25000"/>
                  </a:schemeClr>
                </a:solidFill>
                <a:latin typeface="Impact" panose="020B0806030902050204" pitchFamily="34" charset="0"/>
              </a:rPr>
              <a:t>/02</a:t>
            </a:r>
            <a:endParaRPr lang="zh-CN" altLang="en-US" sz="8000" dirty="0">
              <a:solidFill>
                <a:schemeClr val="accent1">
                  <a:lumMod val="75000"/>
                  <a:lumOff val="2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4572000" y="1898262"/>
            <a:ext cx="6657278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4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一、正确认识自己的心境反应：</a:t>
            </a:r>
            <a:r>
              <a:rPr lang="zh-CN" altLang="en-US" sz="2000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传染病暴发的确会给我们带来巨大的压力，甚至造成心灵的创伤，产生一定的消极情绪是十分正常的。但并不意味着我们就可以对可能有的负面心态听之任之，要对自己的心理状况有一定的监控。</a:t>
            </a:r>
            <a:endParaRPr lang="en-US" altLang="zh-CN" sz="2000" dirty="0">
              <a:solidFill>
                <a:schemeClr val="accent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4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二、恰当心态对待疫情信息：</a:t>
            </a:r>
            <a:r>
              <a:rPr lang="zh-CN" altLang="en-US" sz="2000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在这样的关头，更要对疫情做到“心中有数”，不轻信某些传言。要相信政府公开的信息，相信科学研究对治疗疾病的根本性作用。要化恐慌为认真、科学、适度的个人防护。</a:t>
            </a:r>
            <a:endParaRPr lang="zh-CN" altLang="en-US" sz="2000" dirty="0">
              <a:solidFill>
                <a:schemeClr val="accent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endParaRPr lang="zh-CN" altLang="en-US" sz="2400" b="1" dirty="0">
              <a:solidFill>
                <a:schemeClr val="accent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285750" indent="-285750">
              <a:buFont typeface="Wingdings" panose="05000000000000000000" pitchFamily="2" charset="2"/>
              <a:buChar char="u"/>
            </a:pPr>
            <a:endParaRPr kumimoji="1" lang="zh-CN" altLang="en-US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lï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śľiḍé"/>
          <p:cNvSpPr>
            <a:spLocks noGrp="1"/>
          </p:cNvSpPr>
          <p:nvPr>
            <p:ph type="title"/>
          </p:nvPr>
        </p:nvSpPr>
        <p:spPr>
          <a:xfrm>
            <a:off x="3861268" y="609134"/>
            <a:ext cx="7613337" cy="895350"/>
          </a:xfrm>
        </p:spPr>
        <p:txBody>
          <a:bodyPr anchor="t">
            <a:noAutofit/>
          </a:bodyPr>
          <a:lstStyle/>
          <a:p>
            <a:r>
              <a:rPr lang="zh-CN" altLang="en-US" sz="4000" dirty="0"/>
              <a:t>疫情期间如何进行自我调节？</a:t>
            </a:r>
            <a:endParaRPr lang="zh-CN" altLang="en-US" sz="4000" dirty="0"/>
          </a:p>
        </p:txBody>
      </p:sp>
      <p:sp>
        <p:nvSpPr>
          <p:cNvPr id="7" name="íṡḻîḍê"/>
          <p:cNvSpPr txBox="1"/>
          <p:nvPr/>
        </p:nvSpPr>
        <p:spPr>
          <a:xfrm>
            <a:off x="1494497" y="181045"/>
            <a:ext cx="17423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0" dirty="0">
                <a:solidFill>
                  <a:schemeClr val="accent1">
                    <a:lumMod val="75000"/>
                    <a:lumOff val="25000"/>
                  </a:schemeClr>
                </a:solidFill>
                <a:latin typeface="Impact" panose="020B0806030902050204" pitchFamily="34" charset="0"/>
              </a:rPr>
              <a:t>/02</a:t>
            </a:r>
            <a:endParaRPr lang="zh-CN" altLang="en-US" sz="8000" dirty="0">
              <a:solidFill>
                <a:schemeClr val="accent1">
                  <a:lumMod val="75000"/>
                  <a:lumOff val="2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4572000" y="1898262"/>
            <a:ext cx="6657278" cy="4154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4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三、积极和相关人士展开沟通：</a:t>
            </a:r>
            <a:r>
              <a:rPr lang="zh-CN" altLang="en-US" sz="2000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通过电话、互联网多与家人、朋友交流，相互鼓励、沟通感情，加强心理上的相互支持。</a:t>
            </a:r>
            <a:endParaRPr lang="en-US" altLang="zh-CN" sz="2000" dirty="0">
              <a:solidFill>
                <a:schemeClr val="accent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4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四、维持稳定健康的生活方式：</a:t>
            </a:r>
            <a:r>
              <a:rPr lang="zh-CN" altLang="en-US" sz="2000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尽可能维持原有的生活规律和作息时间，建立良好的生活和卫生习惯，注意良好的饮食，保证睡眠，不要试图通过使用烟、酒来缓解紧张情绪，加强体育锻炼。</a:t>
            </a:r>
            <a:endParaRPr lang="zh-CN" altLang="en-US" sz="2000" dirty="0">
              <a:solidFill>
                <a:schemeClr val="accent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endParaRPr lang="zh-CN" altLang="en-US" sz="2400" b="1" dirty="0">
              <a:solidFill>
                <a:schemeClr val="accent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285750" indent="-285750">
              <a:buFont typeface="Wingdings" panose="05000000000000000000" pitchFamily="2" charset="2"/>
              <a:buChar char="u"/>
            </a:pPr>
            <a:endParaRPr kumimoji="1" lang="zh-CN" alt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lï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śľiḍé"/>
          <p:cNvSpPr>
            <a:spLocks noGrp="1"/>
          </p:cNvSpPr>
          <p:nvPr>
            <p:ph type="title"/>
          </p:nvPr>
        </p:nvSpPr>
        <p:spPr>
          <a:xfrm>
            <a:off x="3883571" y="451500"/>
            <a:ext cx="7613337" cy="895350"/>
          </a:xfrm>
        </p:spPr>
        <p:txBody>
          <a:bodyPr anchor="t">
            <a:noAutofit/>
          </a:bodyPr>
          <a:lstStyle/>
          <a:p>
            <a:r>
              <a:rPr lang="zh-CN" altLang="en-US" sz="4000" dirty="0"/>
              <a:t>其他疏导方法</a:t>
            </a:r>
            <a:endParaRPr lang="zh-CN" altLang="en-US" sz="4000" dirty="0"/>
          </a:p>
        </p:txBody>
      </p:sp>
      <p:sp>
        <p:nvSpPr>
          <p:cNvPr id="7" name="íṡḻîḍê"/>
          <p:cNvSpPr txBox="1"/>
          <p:nvPr/>
        </p:nvSpPr>
        <p:spPr>
          <a:xfrm>
            <a:off x="1461044" y="134923"/>
            <a:ext cx="17423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0" dirty="0">
                <a:solidFill>
                  <a:schemeClr val="accent1">
                    <a:lumMod val="75000"/>
                    <a:lumOff val="25000"/>
                  </a:schemeClr>
                </a:solidFill>
                <a:latin typeface="Impact" panose="020B0806030902050204" pitchFamily="34" charset="0"/>
              </a:rPr>
              <a:t>/03</a:t>
            </a:r>
            <a:endParaRPr lang="zh-CN" altLang="en-US" sz="8000" dirty="0">
              <a:solidFill>
                <a:schemeClr val="accent1">
                  <a:lumMod val="75000"/>
                  <a:lumOff val="2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4572000" y="1898262"/>
            <a:ext cx="6657278" cy="3046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4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一、积极联想法：</a:t>
            </a:r>
            <a:r>
              <a:rPr lang="zh-CN" altLang="en-US" sz="2000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主动进入冥想状况，去联想一些积极的、放松的场景。</a:t>
            </a:r>
            <a:endParaRPr lang="en-US" altLang="zh-CN" sz="2000" dirty="0">
              <a:solidFill>
                <a:schemeClr val="accent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endParaRPr lang="en-US" altLang="zh-CN" sz="2000" dirty="0">
              <a:solidFill>
                <a:schemeClr val="accent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4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二、放松训练：</a:t>
            </a:r>
            <a:r>
              <a:rPr lang="zh-CN" altLang="en-US" sz="2000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依次对手部、上肢、头部、下肢、双脚等各组群进行先紧的练习，最后达到全身放松的目的。做深呼吸、微笑。</a:t>
            </a:r>
            <a:endParaRPr lang="en-US" altLang="zh-CN" sz="2000" dirty="0">
              <a:solidFill>
                <a:schemeClr val="accent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ṧlï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íśľiḍé"/>
          <p:cNvSpPr>
            <a:spLocks noGrp="1"/>
          </p:cNvSpPr>
          <p:nvPr>
            <p:ph type="title"/>
          </p:nvPr>
        </p:nvSpPr>
        <p:spPr>
          <a:xfrm>
            <a:off x="3838966" y="518407"/>
            <a:ext cx="7613337" cy="895350"/>
          </a:xfrm>
        </p:spPr>
        <p:txBody>
          <a:bodyPr anchor="t">
            <a:noAutofit/>
          </a:bodyPr>
          <a:lstStyle/>
          <a:p>
            <a:r>
              <a:rPr lang="zh-CN" altLang="en-US" sz="4000" dirty="0"/>
              <a:t>其他疏导方法</a:t>
            </a:r>
            <a:endParaRPr lang="zh-CN" altLang="en-US" sz="4000" dirty="0"/>
          </a:p>
        </p:txBody>
      </p:sp>
      <p:sp>
        <p:nvSpPr>
          <p:cNvPr id="7" name="íṡḻîḍê"/>
          <p:cNvSpPr txBox="1"/>
          <p:nvPr/>
        </p:nvSpPr>
        <p:spPr>
          <a:xfrm>
            <a:off x="1494497" y="181045"/>
            <a:ext cx="17423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0" dirty="0">
                <a:solidFill>
                  <a:schemeClr val="accent1">
                    <a:lumMod val="75000"/>
                    <a:lumOff val="25000"/>
                  </a:schemeClr>
                </a:solidFill>
                <a:latin typeface="Impact" panose="020B0806030902050204" pitchFamily="34" charset="0"/>
              </a:rPr>
              <a:t>/03</a:t>
            </a:r>
            <a:endParaRPr lang="zh-CN" altLang="en-US" sz="8000" dirty="0">
              <a:solidFill>
                <a:schemeClr val="accent1">
                  <a:lumMod val="75000"/>
                  <a:lumOff val="25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4572000" y="1898262"/>
            <a:ext cx="6657278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4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三、正确宣泄情绪：</a:t>
            </a:r>
            <a:r>
              <a:rPr lang="zh-CN" altLang="en-US" sz="2000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压抑不良情绪会损害健康，提倡采用正确的途径和方式宣泄，如：写日记、通过亲朋好友之间的有效沟通获取心理支持、寻求专业人士的帮助。</a:t>
            </a:r>
            <a:endParaRPr lang="zh-CN" altLang="en-US" sz="2000" dirty="0">
              <a:solidFill>
                <a:schemeClr val="accent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4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四、做有意义、有价值感的事情：</a:t>
            </a:r>
            <a:r>
              <a:rPr lang="zh-CN" altLang="en-US" sz="2000" dirty="0">
                <a:solidFill>
                  <a:schemeClr val="accent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对抗失控感、焦虑感的最有建设性的做法是克服自己的恐惧，去做更有价值感、更有意义的事情。</a:t>
            </a:r>
            <a:endParaRPr lang="zh-CN" altLang="en-US" sz="2400" b="1" dirty="0">
              <a:solidFill>
                <a:schemeClr val="accent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marL="285750" indent="-285750">
              <a:buFont typeface="Wingdings" panose="05000000000000000000" pitchFamily="2" charset="2"/>
              <a:buChar char="u"/>
            </a:pPr>
            <a:endParaRPr kumimoji="1" lang="zh-CN" alt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ṩľî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ṥľíď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6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iSliď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ṡļîḑe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šļïḋe"/>
          <p:cNvSpPr>
            <a:spLocks noGrp="1"/>
          </p:cNvSpPr>
          <p:nvPr>
            <p:ph type="ctrTitle"/>
          </p:nvPr>
        </p:nvSpPr>
        <p:spPr>
          <a:xfrm>
            <a:off x="528135" y="2020470"/>
            <a:ext cx="6279808" cy="1621509"/>
          </a:xfrm>
        </p:spPr>
        <p:txBody>
          <a:bodyPr>
            <a:noAutofit/>
          </a:bodyPr>
          <a:lstStyle/>
          <a:p>
            <a:pPr algn="ctr"/>
            <a:r>
              <a:rPr lang="en-US" altLang="zh-CN" sz="8000" dirty="0"/>
              <a:t>Thanks</a:t>
            </a:r>
            <a:r>
              <a:rPr lang="zh-CN" altLang="en-US" sz="8000" dirty="0"/>
              <a:t>！</a:t>
            </a:r>
            <a:br>
              <a:rPr lang="en-US" altLang="zh-CN" sz="8000" dirty="0"/>
            </a:br>
            <a:endParaRPr lang="zh-CN" altLang="en-US" sz="8000" dirty="0"/>
          </a:p>
        </p:txBody>
      </p:sp>
      <p:sp>
        <p:nvSpPr>
          <p:cNvPr id="8" name="íṧḷïḍê"/>
          <p:cNvSpPr txBox="1"/>
          <p:nvPr/>
        </p:nvSpPr>
        <p:spPr>
          <a:xfrm>
            <a:off x="781725" y="4026775"/>
            <a:ext cx="531427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4000" dirty="0">
                <a:solidFill>
                  <a:schemeClr val="bg1"/>
                </a:solidFill>
              </a:rPr>
              <a:t>众志成城，共抗疫情！</a:t>
            </a:r>
            <a:endParaRPr lang="zh-CN" altLang="en-US" sz="4000" dirty="0">
              <a:solidFill>
                <a:schemeClr val="bg1"/>
              </a:solidFill>
            </a:endParaRPr>
          </a:p>
        </p:txBody>
      </p:sp>
      <p:sp>
        <p:nvSpPr>
          <p:cNvPr id="11" name="文本占位符 10"/>
          <p:cNvSpPr>
            <a:spLocks noGrp="1"/>
          </p:cNvSpPr>
          <p:nvPr>
            <p:ph type="body" sz="quarter" idx="18"/>
          </p:nvPr>
        </p:nvSpPr>
        <p:spPr>
          <a:xfrm>
            <a:off x="673101" y="5300707"/>
            <a:ext cx="5114382" cy="707885"/>
          </a:xfrm>
        </p:spPr>
        <p:txBody>
          <a:bodyPr>
            <a:normAutofit lnSpcReduction="10000"/>
          </a:bodyPr>
          <a:lstStyle/>
          <a:p>
            <a:pPr algn="r"/>
            <a:r>
              <a:rPr lang="zh-CN" altLang="en-US" sz="1800" dirty="0"/>
              <a:t>苏永娥</a:t>
            </a:r>
            <a:endParaRPr lang="en-US" altLang="zh-CN" sz="1800" dirty="0"/>
          </a:p>
          <a:p>
            <a:pPr algn="r"/>
            <a:r>
              <a:rPr lang="en-US" altLang="zh-CN" sz="1800" dirty="0"/>
              <a:t>2020.3.9</a:t>
            </a:r>
            <a:endParaRPr lang="en-US" altLang="zh-CN" sz="1800" dirty="0"/>
          </a:p>
          <a:p>
            <a:pPr algn="r"/>
            <a:endParaRPr lang="zh-CN" altLang="en-US" sz="1600" dirty="0"/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1Smkff3fSzGMOuItfjj3Fw"/>
</p:tagLst>
</file>

<file path=ppt/tags/tag5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761cc94f-8fc3-48e6-82dc-958d09c2d579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82558"/>
      </a:accent1>
      <a:accent2>
        <a:srgbClr val="31E1FE"/>
      </a:accent2>
      <a:accent3>
        <a:srgbClr val="11E0A1"/>
      </a:accent3>
      <a:accent4>
        <a:srgbClr val="DBF315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82558"/>
    </a:accent1>
    <a:accent2>
      <a:srgbClr val="31E1FE"/>
    </a:accent2>
    <a:accent3>
      <a:srgbClr val="11E0A1"/>
    </a:accent3>
    <a:accent4>
      <a:srgbClr val="DBF315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82558"/>
    </a:accent1>
    <a:accent2>
      <a:srgbClr val="31E1FE"/>
    </a:accent2>
    <a:accent3>
      <a:srgbClr val="11E0A1"/>
    </a:accent3>
    <a:accent4>
      <a:srgbClr val="DBF315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82558"/>
    </a:accent1>
    <a:accent2>
      <a:srgbClr val="31E1FE"/>
    </a:accent2>
    <a:accent3>
      <a:srgbClr val="11E0A1"/>
    </a:accent3>
    <a:accent4>
      <a:srgbClr val="DBF315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主题5</Template>
  <TotalTime>0</TotalTime>
  <Words>1160</Words>
  <Application>WPS 演示</Application>
  <PresentationFormat>宽屏</PresentationFormat>
  <Paragraphs>71</Paragraphs>
  <Slides>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9</vt:i4>
      </vt:variant>
    </vt:vector>
  </HeadingPairs>
  <TitlesOfParts>
    <vt:vector size="19" baseType="lpstr">
      <vt:lpstr>Arial</vt:lpstr>
      <vt:lpstr>宋体</vt:lpstr>
      <vt:lpstr>Wingdings</vt:lpstr>
      <vt:lpstr>微软雅黑</vt:lpstr>
      <vt:lpstr>Impact</vt:lpstr>
      <vt:lpstr>Arial Unicode MS</vt:lpstr>
      <vt:lpstr>Calibri</vt:lpstr>
      <vt:lpstr>主题5</vt:lpstr>
      <vt:lpstr>TCLayout.ActiveDocument.1</vt:lpstr>
      <vt:lpstr>TCLayout.ActiveDocument.1</vt:lpstr>
      <vt:lpstr>疫情期间如何进行心理调节</vt:lpstr>
      <vt:lpstr>在2020年春节来临之际，一场由新型冠状病毒感染的肺炎疫情，以迅猛之势，降临于祖国大地。这次疫情来势汹汹，蔓延迅速，严重威胁着人民的生命安全和身心健康。疫情悄然发生，发展的又让人猝不及防。为了缓解同学们的心理压力，我受校领导和教务科领导的委托，今晚和大家共同学习疫情期间如何进行心理调节， </vt:lpstr>
      <vt:lpstr>疫情期间常见的心理问题</vt:lpstr>
      <vt:lpstr>疫情期间常见的心理问题</vt:lpstr>
      <vt:lpstr>疫情期间如何进行自我调节？</vt:lpstr>
      <vt:lpstr>疫情期间如何进行自我调节？</vt:lpstr>
      <vt:lpstr>其他疏导方法</vt:lpstr>
      <vt:lpstr>其他疏导方法</vt:lpstr>
      <vt:lpstr>Thanks！ </vt:lpstr>
    </vt:vector>
  </TitlesOfParts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疫情期间如何进行心理调节</dc:title>
  <dc:creator>Hangcen Huangfu</dc:creator>
  <cp:lastModifiedBy>Administrator</cp:lastModifiedBy>
  <cp:revision>21</cp:revision>
  <cp:lastPrinted>2020-02-09T16:00:00Z</cp:lastPrinted>
  <dcterms:created xsi:type="dcterms:W3CDTF">2020-03-04T13:20:00Z</dcterms:created>
  <dcterms:modified xsi:type="dcterms:W3CDTF">2020-03-08T04:18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1.1.0.9513</vt:lpwstr>
  </property>
</Properties>
</file>